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551" r:id="rId4"/>
  </p:sldMasterIdLst>
  <p:notesMasterIdLst>
    <p:notesMasterId r:id="rId35"/>
  </p:notesMasterIdLst>
  <p:handoutMasterIdLst>
    <p:handoutMasterId r:id="rId36"/>
  </p:handoutMasterIdLst>
  <p:sldIdLst>
    <p:sldId id="1938" r:id="rId5"/>
    <p:sldId id="1939" r:id="rId6"/>
    <p:sldId id="1957" r:id="rId7"/>
    <p:sldId id="1941" r:id="rId8"/>
    <p:sldId id="1949" r:id="rId9"/>
    <p:sldId id="1950" r:id="rId10"/>
    <p:sldId id="1951" r:id="rId11"/>
    <p:sldId id="1952" r:id="rId12"/>
    <p:sldId id="1953" r:id="rId13"/>
    <p:sldId id="1954" r:id="rId14"/>
    <p:sldId id="1955" r:id="rId15"/>
    <p:sldId id="1885" r:id="rId16"/>
    <p:sldId id="1921" r:id="rId17"/>
    <p:sldId id="1898" r:id="rId18"/>
    <p:sldId id="1901" r:id="rId19"/>
    <p:sldId id="1903" r:id="rId20"/>
    <p:sldId id="1956" r:id="rId21"/>
    <p:sldId id="282" r:id="rId22"/>
    <p:sldId id="269" r:id="rId23"/>
    <p:sldId id="270" r:id="rId24"/>
    <p:sldId id="1495" r:id="rId25"/>
    <p:sldId id="281" r:id="rId26"/>
    <p:sldId id="1496" r:id="rId27"/>
    <p:sldId id="1959" r:id="rId28"/>
    <p:sldId id="1900" r:id="rId29"/>
    <p:sldId id="1912" r:id="rId30"/>
    <p:sldId id="1960" r:id="rId31"/>
    <p:sldId id="1913" r:id="rId32"/>
    <p:sldId id="1958" r:id="rId33"/>
    <p:sldId id="1870" r:id="rId34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203">
          <p15:clr>
            <a:srgbClr val="A4A3A4"/>
          </p15:clr>
        </p15:guide>
        <p15:guide id="3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Angela Powell" initials="AP" lastIdx="9" clrIdx="4"/>
  <p:cmAuthor id="5" name="Jarrod Renfro" initials="JR" lastIdx="3" clrIdx="5">
    <p:extLst>
      <p:ext uri="{19B8F6BF-5375-455C-9EA6-DF929625EA0E}">
        <p15:presenceInfo xmlns:p15="http://schemas.microsoft.com/office/powerpoint/2012/main" userId="Jarrod Renfr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7979"/>
    <a:srgbClr val="FF2F2F"/>
    <a:srgbClr val="FF0000"/>
    <a:srgbClr val="7F7F7F"/>
    <a:srgbClr val="000000"/>
    <a:srgbClr val="ABABAB"/>
    <a:srgbClr val="EBEBEB"/>
    <a:srgbClr val="59B4D9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55C35B-10CD-4727-BAD4-026122356009}" v="3" dt="2020-12-08T23:46:07.6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87779" autoAdjust="0"/>
  </p:normalViewPr>
  <p:slideViewPr>
    <p:cSldViewPr snapToGrid="0">
      <p:cViewPr varScale="1">
        <p:scale>
          <a:sx n="98" d="100"/>
          <a:sy n="98" d="100"/>
        </p:scale>
        <p:origin x="972" y="84"/>
      </p:cViewPr>
      <p:guideLst>
        <p:guide orient="horz" pos="2203"/>
        <p:guide pos="39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3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rrod Renfro" userId="d048d542-e669-493e-8dc7-fbcf4efcde8f" providerId="ADAL" clId="{6955C35B-10CD-4727-BAD4-026122356009}"/>
    <pc:docChg chg="custSel modSld">
      <pc:chgData name="Jarrod Renfro" userId="d048d542-e669-493e-8dc7-fbcf4efcde8f" providerId="ADAL" clId="{6955C35B-10CD-4727-BAD4-026122356009}" dt="2020-12-08T23:55:30.580" v="6" actId="20577"/>
      <pc:docMkLst>
        <pc:docMk/>
      </pc:docMkLst>
      <pc:sldChg chg="modSp mod">
        <pc:chgData name="Jarrod Renfro" userId="d048d542-e669-493e-8dc7-fbcf4efcde8f" providerId="ADAL" clId="{6955C35B-10CD-4727-BAD4-026122356009}" dt="2020-12-08T23:55:30.580" v="6" actId="20577"/>
        <pc:sldMkLst>
          <pc:docMk/>
          <pc:sldMk cId="2501132300" sldId="1496"/>
        </pc:sldMkLst>
        <pc:spChg chg="mod">
          <ac:chgData name="Jarrod Renfro" userId="d048d542-e669-493e-8dc7-fbcf4efcde8f" providerId="ADAL" clId="{6955C35B-10CD-4727-BAD4-026122356009}" dt="2020-12-08T23:55:30.580" v="6" actId="20577"/>
          <ac:spMkLst>
            <pc:docMk/>
            <pc:sldMk cId="2501132300" sldId="1496"/>
            <ac:spMk id="4" creationId="{B46ECDF2-0192-413A-A68A-319699E5F8D8}"/>
          </ac:spMkLst>
        </pc:spChg>
      </pc:sldChg>
      <pc:sldChg chg="addCm modCm">
        <pc:chgData name="Jarrod Renfro" userId="d048d542-e669-493e-8dc7-fbcf4efcde8f" providerId="ADAL" clId="{6955C35B-10CD-4727-BAD4-026122356009}" dt="2020-12-08T23:45:32.297" v="3"/>
        <pc:sldMkLst>
          <pc:docMk/>
          <pc:sldMk cId="1587072904" sldId="1885"/>
        </pc:sldMkLst>
      </pc:sldChg>
      <pc:sldChg chg="addCm modCm">
        <pc:chgData name="Jarrod Renfro" userId="d048d542-e669-493e-8dc7-fbcf4efcde8f" providerId="ADAL" clId="{6955C35B-10CD-4727-BAD4-026122356009}" dt="2020-12-08T23:44:51.217" v="1"/>
        <pc:sldMkLst>
          <pc:docMk/>
          <pc:sldMk cId="1024414060" sldId="1949"/>
        </pc:sldMkLst>
      </pc:sldChg>
      <pc:sldChg chg="addCm modCm">
        <pc:chgData name="Jarrod Renfro" userId="d048d542-e669-493e-8dc7-fbcf4efcde8f" providerId="ADAL" clId="{6955C35B-10CD-4727-BAD4-026122356009}" dt="2020-12-08T23:46:07.680" v="5"/>
        <pc:sldMkLst>
          <pc:docMk/>
          <pc:sldMk cId="1065413711" sldId="195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m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41-402D-B68F-F5885B13975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285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41-402D-B68F-F5885B13975E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41-402D-B68F-F5885B13975E}"/>
              </c:ext>
            </c:extLst>
          </c:dPt>
          <c:cat>
            <c:strRef>
              <c:f>Sheet1!$A$2:$A$4</c:f>
              <c:strCache>
                <c:ptCount val="2"/>
                <c:pt idx="0">
                  <c:v>Challenge</c:v>
                </c:pt>
                <c:pt idx="1">
                  <c:v>Hou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41-402D-B68F-F5885B139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567</cdr:x>
      <cdr:y>0.46757</cdr:y>
    </cdr:from>
    <cdr:to>
      <cdr:x>0.68433</cdr:x>
      <cdr:y>0.8934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B42EC79-032F-4608-BC46-F537941538F9}"/>
            </a:ext>
          </a:extLst>
        </cdr:cNvPr>
        <cdr:cNvSpPr txBox="1"/>
      </cdr:nvSpPr>
      <cdr:spPr>
        <a:xfrm xmlns:a="http://schemas.openxmlformats.org/drawingml/2006/main">
          <a:off x="936976" y="925236"/>
          <a:ext cx="1094263" cy="8427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n-US" sz="3200" dirty="0">
              <a:solidFill>
                <a:schemeClr val="bg1"/>
              </a:solidFill>
            </a:rPr>
            <a:t>60 </a:t>
          </a:r>
          <a:br>
            <a:rPr lang="en-US" sz="1400" dirty="0">
              <a:solidFill>
                <a:schemeClr val="bg1"/>
              </a:solidFill>
            </a:rPr>
          </a:br>
          <a:r>
            <a:rPr lang="en-US" sz="1400" dirty="0">
              <a:solidFill>
                <a:schemeClr val="bg1"/>
              </a:solidFill>
            </a:rPr>
            <a:t>minute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FDB7B-8DB8-4A3A-95C8-7102BBC9A9E1}" type="datetime8">
              <a:rPr lang="en-US" smtClean="0">
                <a:latin typeface="Segoe UI" pitchFamily="34" charset="0"/>
              </a:rPr>
              <a:t>5/13/2021 2:27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CE60099-03E7-4FA1-8A7F-E6E6CFB0F855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7441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 labs are updated on a regular basis. For the latest information please visit: </a:t>
            </a:r>
          </a:p>
          <a:p>
            <a:r>
              <a:rPr 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   </a:t>
            </a:r>
          </a:p>
          <a:p>
            <a:r>
              <a:rPr lang="en-US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https://microsoftlearning.github.io/AZ400-DesigningandImplementingMicrosoftDevOpsSolutions/</a:t>
            </a:r>
            <a:endParaRPr lang="en-US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227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432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Q1 Answer</a:t>
            </a:r>
            <a:r>
              <a:rPr lang="en-US" dirty="0"/>
              <a:t>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Bugs, security vulnerabilities, and licensing issues </a:t>
            </a:r>
          </a:p>
          <a:p>
            <a:r>
              <a:rPr lang="en-US" b="1" dirty="0"/>
              <a:t>Q2 Answer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Each library has usage restrictions as part of the licensing. These restrictions might not be compatible with your intended application use. 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3 Answe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A type of software where users of code are permitted to study, change, and distribute the software. The open-source license type can limit the actions (such as sale provisions) that can be taken. </a:t>
            </a: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34E77-A9B7-4E08-94CE-2EBEF68CD23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155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508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056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20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619146B-24F9-441E-A368-DB3B5A84C1D4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016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0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ee </a:t>
            </a:r>
            <a:r>
              <a:rPr lang="en-US" b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http://owasp.org</a:t>
            </a: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605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For more information, you can see:</a:t>
            </a:r>
          </a:p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Fortify - https://marketplace.visualstudio.com/items?itemName=fortifyvsts.hpe-security-fortify-vsts</a:t>
            </a:r>
          </a:p>
          <a:p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Checkmarx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</a:t>
            </a:r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CxSAST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- https://marketplace.visualstudio.com/items?itemName=checkmarx.cxsast</a:t>
            </a:r>
          </a:p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OWASP Zed Attack Proxy Scan - https://marketplace.visualstudio.com/items?itemName=kasunkodagoda.owasp-zap-scan</a:t>
            </a:r>
          </a:p>
          <a:p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BinSkim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- https://blogs.msdn.microsoft.com/secdevblog/2016/08/17/introducing-binskim/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5/13/2021 2:2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0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34E77-A9B7-4E08-94CE-2EBEF68CD23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980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crosoft Azure logo">
            <a:extLst>
              <a:ext uri="{FF2B5EF4-FFF2-40B4-BE49-F238E27FC236}">
                <a16:creationId xmlns:a16="http://schemas.microsoft.com/office/drawing/2014/main" id="{AFDC29EE-BDE7-4363-B0FC-728521A36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76" y="448056"/>
            <a:ext cx="1362456" cy="19234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D09A9D1-6212-8B49-96D7-B3E9D17D4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277" y="2582862"/>
            <a:ext cx="5537797" cy="1828800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16182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0718743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9" y="3292078"/>
            <a:ext cx="2506662" cy="41036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228043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403934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1926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1FDE817-4581-481C-9C54-D23C2F82A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039" y="3289513"/>
            <a:ext cx="9240836" cy="415498"/>
          </a:xfrm>
          <a:noFill/>
        </p:spPr>
        <p:txBody>
          <a:bodyPr wrap="square" lIns="0" tIns="0" rIns="0" bIns="0" anchor="ctr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0" kern="1200" cap="none" spc="-51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61202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8071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65138" y="2201862"/>
            <a:ext cx="11533187" cy="415988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AD9F5927-827C-2E4D-8781-07CF39C2749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63276" y="6583680"/>
            <a:ext cx="11533187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Azure </a:t>
            </a:r>
          </a:p>
        </p:txBody>
      </p:sp>
    </p:spTree>
    <p:extLst>
      <p:ext uri="{BB962C8B-B14F-4D97-AF65-F5344CB8AC3E}">
        <p14:creationId xmlns:p14="http://schemas.microsoft.com/office/powerpoint/2010/main" val="2276415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 exercise layou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580AEB-44E6-4B65-97DE-64E3AEB487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xt layout: two row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600200" y="1485899"/>
            <a:ext cx="10409238" cy="914400"/>
          </a:xfr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599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612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2448" b="0">
                <a:solidFill>
                  <a:schemeClr val="tx1"/>
                </a:solidFill>
                <a:latin typeface="+mj-lt"/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1"/>
            <a:r>
              <a:rPr lang="en-US" dirty="0"/>
              <a:t>Body copy Segoe UI </a:t>
            </a:r>
            <a:r>
              <a:rPr lang="en-US" dirty="0" err="1"/>
              <a:t>Semibold</a:t>
            </a:r>
            <a:r>
              <a:rPr lang="en-US" dirty="0"/>
              <a:t> 20/24. </a:t>
            </a:r>
          </a:p>
          <a:p>
            <a:pPr lvl="1"/>
            <a:r>
              <a:rPr lang="en-US" dirty="0"/>
              <a:t>The quick brown fox jumps over the lazy dog. The quick brown fox jumps over the lazy dog. The quick brown fox jumps over the lazy dog.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40754" y="3040062"/>
            <a:ext cx="11568684" cy="547870"/>
          </a:xfr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599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612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2448" b="0">
                <a:solidFill>
                  <a:schemeClr val="tx1"/>
                </a:solidFill>
                <a:latin typeface="+mj-lt"/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marL="0" marR="0" lvl="1" indent="0" algn="l" defTabSz="93256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/>
            </a:pPr>
            <a:r>
              <a:rPr lang="en-US" dirty="0"/>
              <a:t>Body copy Segoe UI </a:t>
            </a:r>
            <a:r>
              <a:rPr lang="en-US" dirty="0" err="1"/>
              <a:t>Semibold</a:t>
            </a:r>
            <a:r>
              <a:rPr lang="en-US" dirty="0"/>
              <a:t> 20/24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E0FEDF-0787-478A-A851-B03CCD900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755" y="3587932"/>
            <a:ext cx="5544766" cy="2046546"/>
          </a:xfrm>
          <a:ln w="19050">
            <a:solidFill>
              <a:schemeClr val="tx2"/>
            </a:solidFill>
          </a:ln>
        </p:spPr>
        <p:txBody>
          <a:bodyPr lIns="182880" tIns="137160" rIns="182880">
            <a:noAutofit/>
          </a:bodyPr>
          <a:lstStyle>
            <a:lvl1pPr>
              <a:defRPr sz="2040">
                <a:solidFill>
                  <a:schemeClr val="tx1"/>
                </a:solidFill>
              </a:defRPr>
            </a:lvl1pPr>
            <a:lvl2pPr>
              <a:defRPr sz="1836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25DC022-FEF0-43F5-AF4D-034F780F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64672" y="3587932"/>
            <a:ext cx="5544766" cy="2046546"/>
          </a:xfrm>
          <a:ln w="19050">
            <a:solidFill>
              <a:schemeClr val="tx2"/>
            </a:solidFill>
          </a:ln>
        </p:spPr>
        <p:txBody>
          <a:bodyPr lIns="182880" tIns="137160" rIns="182880">
            <a:noAutofit/>
          </a:bodyPr>
          <a:lstStyle>
            <a:lvl1pPr>
              <a:defRPr sz="2040">
                <a:solidFill>
                  <a:schemeClr val="tx1"/>
                </a:solidFill>
              </a:defRPr>
            </a:lvl1pPr>
            <a:lvl2pPr>
              <a:defRPr sz="1836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88CC05-5984-4661-94A2-4BD7378D4A33}"/>
              </a:ext>
            </a:extLst>
          </p:cNvPr>
          <p:cNvSpPr txBox="1">
            <a:spLocks/>
          </p:cNvSpPr>
          <p:nvPr userDrawn="1"/>
        </p:nvSpPr>
        <p:spPr>
          <a:xfrm>
            <a:off x="4119583" y="6680282"/>
            <a:ext cx="4197310" cy="14406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>
              <a:defRPr sz="900">
                <a:solidFill>
                  <a:srgbClr val="000000"/>
                </a:solidFill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918" dirty="0"/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74915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8" y="567457"/>
            <a:ext cx="11530584" cy="83002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65138" y="1853742"/>
            <a:ext cx="11456988" cy="206210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1"/>
            <a:r>
              <a:rPr lang="en-US"/>
              <a:t>Large: subhead Segoe UI Regular 20/24</a:t>
            </a:r>
          </a:p>
          <a:p>
            <a:pPr lvl="1"/>
            <a:endParaRPr lang="en-US"/>
          </a:p>
          <a:p>
            <a:pPr lvl="2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Medium: paragraph body copy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Small: caption heading Segoe UI Bold 10/12</a:t>
            </a:r>
          </a:p>
          <a:p>
            <a:pPr lvl="6"/>
            <a:r>
              <a:rPr lang="en-US"/>
              <a:t>Small: caption body copy Segoe UI Regular 10/12</a:t>
            </a:r>
          </a:p>
          <a:p>
            <a:pPr lvl="6"/>
            <a:endParaRPr lang="en-US"/>
          </a:p>
          <a:p>
            <a:pPr lvl="6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21908" y="2898552"/>
            <a:ext cx="6979503" cy="118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24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3" r:id="rId1"/>
    <p:sldLayoutId id="2147484562" r:id="rId2"/>
    <p:sldLayoutId id="2147484617" r:id="rId3"/>
    <p:sldLayoutId id="2147484580" r:id="rId4"/>
    <p:sldLayoutId id="2147484563" r:id="rId5"/>
    <p:sldLayoutId id="2147484622" r:id="rId6"/>
    <p:sldLayoutId id="2147484615" r:id="rId7"/>
    <p:sldLayoutId id="2147484572" r:id="rId8"/>
    <p:sldLayoutId id="2147484623" r:id="rId9"/>
  </p:sldLayoutIdLst>
  <p:transition>
    <p:fade/>
  </p:transition>
  <p:hf hd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2800" b="0" kern="1200" cap="none" spc="-50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400" kern="1200" spc="-50" baseline="0">
          <a:solidFill>
            <a:srgbClr val="000000"/>
          </a:solidFill>
          <a:latin typeface="+mj-lt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Tx/>
        <a:buNone/>
        <a:tabLst/>
        <a:defRPr sz="20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000" b="1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331854" indent="0" algn="l" defTabSz="932742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327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000" kern="1200">
          <a:solidFill>
            <a:srgbClr val="000000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 userDrawn="1">
          <p15:clr>
            <a:srgbClr val="C35EA4"/>
          </p15:clr>
        </p15:guide>
        <p15:guide id="32" pos="1528" userDrawn="1">
          <p15:clr>
            <a:srgbClr val="C35EA4"/>
          </p15:clr>
        </p15:guide>
        <p15:guide id="33" pos="2621" userDrawn="1">
          <p15:clr>
            <a:srgbClr val="C35EA4"/>
          </p15:clr>
        </p15:guide>
        <p15:guide id="34" pos="2765" userDrawn="1">
          <p15:clr>
            <a:srgbClr val="C35EA4"/>
          </p15:clr>
        </p15:guide>
        <p15:guide id="35" pos="3854" userDrawn="1">
          <p15:clr>
            <a:srgbClr val="C35EA4"/>
          </p15:clr>
        </p15:guide>
        <p15:guide id="36" pos="4003" userDrawn="1">
          <p15:clr>
            <a:srgbClr val="C35EA4"/>
          </p15:clr>
        </p15:guide>
        <p15:guide id="37" pos="5083" userDrawn="1">
          <p15:clr>
            <a:srgbClr val="C35EA4"/>
          </p15:clr>
        </p15:guide>
        <p15:guide id="38" pos="5230" userDrawn="1">
          <p15:clr>
            <a:srgbClr val="C35EA4"/>
          </p15:clr>
        </p15:guide>
        <p15:guide id="39" pos="6323" userDrawn="1">
          <p15:clr>
            <a:srgbClr val="C35EA4"/>
          </p15:clr>
        </p15:guide>
        <p15:guide id="40" pos="6469" userDrawn="1">
          <p15:clr>
            <a:srgbClr val="C35EA4"/>
          </p15:clr>
        </p15:guide>
        <p15:guide id="41" pos="269" userDrawn="1">
          <p15:clr>
            <a:srgbClr val="F26B43"/>
          </p15:clr>
        </p15:guide>
        <p15:guide id="42" pos="7565" userDrawn="1">
          <p15:clr>
            <a:srgbClr val="F26B43"/>
          </p15:clr>
        </p15:guide>
        <p15:guide id="43" orient="horz" pos="751" userDrawn="1">
          <p15:clr>
            <a:srgbClr val="5ACBF0"/>
          </p15:clr>
        </p15:guide>
        <p15:guide id="44" orient="horz" pos="1387" userDrawn="1">
          <p15:clr>
            <a:srgbClr val="5ACBF0"/>
          </p15:clr>
        </p15:guide>
        <p15:guide id="45" orient="horz" pos="605" userDrawn="1">
          <p15:clr>
            <a:srgbClr val="5ACBF0"/>
          </p15:clr>
        </p15:guide>
        <p15:guide id="46" orient="horz" pos="1514" userDrawn="1">
          <p15:clr>
            <a:srgbClr val="5ACBF0"/>
          </p15:clr>
        </p15:guide>
        <p15:guide id="47" orient="horz" pos="2130" userDrawn="1">
          <p15:clr>
            <a:srgbClr val="5ACBF0"/>
          </p15:clr>
        </p15:guide>
        <p15:guide id="48" orient="horz" pos="2299" userDrawn="1">
          <p15:clr>
            <a:srgbClr val="5ACBF0"/>
          </p15:clr>
        </p15:guide>
        <p15:guide id="49" orient="horz" pos="283" userDrawn="1">
          <p15:clr>
            <a:srgbClr val="F26B43"/>
          </p15:clr>
        </p15:guide>
        <p15:guide id="50" orient="horz" pos="4123" userDrawn="1">
          <p15:clr>
            <a:srgbClr val="F26B43"/>
          </p15:clr>
        </p15:guide>
        <p15:guide id="51" orient="horz" pos="2891" userDrawn="1">
          <p15:clr>
            <a:srgbClr val="5ACBF0"/>
          </p15:clr>
        </p15:guide>
        <p15:guide id="52" orient="horz" pos="3019" userDrawn="1">
          <p15:clr>
            <a:srgbClr val="5ACBF0"/>
          </p15:clr>
        </p15:guide>
        <p15:guide id="53" orient="horz" pos="3643" userDrawn="1">
          <p15:clr>
            <a:srgbClr val="5ACBF0"/>
          </p15:clr>
        </p15:guide>
        <p15:guide id="54" orient="horz" pos="376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wmf"/><Relationship Id="rId4" Type="http://schemas.openxmlformats.org/officeDocument/2006/relationships/image" Target="../media/image31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wmf"/><Relationship Id="rId5" Type="http://schemas.openxmlformats.org/officeDocument/2006/relationships/hyperlink" Target="http://owasp.org/" TargetMode="External"/><Relationship Id="rId4" Type="http://schemas.openxmlformats.org/officeDocument/2006/relationships/image" Target="../media/image34.w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emf"/><Relationship Id="rId4" Type="http://schemas.openxmlformats.org/officeDocument/2006/relationships/image" Target="../media/image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in/azure/container-instances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1.xml"/><Relationship Id="rId4" Type="http://schemas.openxmlformats.org/officeDocument/2006/relationships/image" Target="../media/image46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7" Type="http://schemas.openxmlformats.org/officeDocument/2006/relationships/image" Target="../media/image17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wmf"/><Relationship Id="rId5" Type="http://schemas.openxmlformats.org/officeDocument/2006/relationships/image" Target="../media/image15.wmf"/><Relationship Id="rId4" Type="http://schemas.openxmlformats.org/officeDocument/2006/relationships/image" Target="../media/image14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image" Target="../media/image7.wmf"/><Relationship Id="rId7" Type="http://schemas.openxmlformats.org/officeDocument/2006/relationships/image" Target="../media/image1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wmf"/><Relationship Id="rId5" Type="http://schemas.openxmlformats.org/officeDocument/2006/relationships/image" Target="../media/image9.wmf"/><Relationship Id="rId4" Type="http://schemas.openxmlformats.org/officeDocument/2006/relationships/image" Target="../media/image8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7" Type="http://schemas.openxmlformats.org/officeDocument/2006/relationships/image" Target="../media/image17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wmf"/><Relationship Id="rId5" Type="http://schemas.openxmlformats.org/officeDocument/2006/relationships/image" Target="../media/image15.wmf"/><Relationship Id="rId4" Type="http://schemas.openxmlformats.org/officeDocument/2006/relationships/image" Target="../media/image14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Open-source_software" TargetMode="External"/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7" Type="http://schemas.openxmlformats.org/officeDocument/2006/relationships/image" Target="../media/image25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wmf"/><Relationship Id="rId5" Type="http://schemas.openxmlformats.org/officeDocument/2006/relationships/image" Target="../media/image23.wmf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wmf"/><Relationship Id="rId5" Type="http://schemas.openxmlformats.org/officeDocument/2006/relationships/image" Target="../media/image28.wmf"/><Relationship Id="rId4" Type="http://schemas.openxmlformats.org/officeDocument/2006/relationships/image" Target="../media/image2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56474-6022-48BB-A434-CF09068ED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277" y="2582862"/>
            <a:ext cx="5537797" cy="1828800"/>
          </a:xfrm>
        </p:spPr>
        <p:txBody>
          <a:bodyPr/>
          <a:lstStyle/>
          <a:p>
            <a:r>
              <a:rPr lang="en-US" dirty="0"/>
              <a:t>AZ-400.00</a:t>
            </a:r>
            <a:br>
              <a:rPr lang="en-US" dirty="0"/>
            </a:br>
            <a:r>
              <a:rPr lang="en-US" dirty="0"/>
              <a:t>Module 20:</a:t>
            </a:r>
            <a:br>
              <a:rPr lang="en-US" dirty="0"/>
            </a:br>
            <a:r>
              <a:rPr lang="en-US" dirty="0"/>
              <a:t>Validating Code Bases for Compliance</a:t>
            </a:r>
          </a:p>
        </p:txBody>
      </p:sp>
    </p:spTree>
    <p:extLst>
      <p:ext uri="{BB962C8B-B14F-4D97-AF65-F5344CB8AC3E}">
        <p14:creationId xmlns:p14="http://schemas.microsoft.com/office/powerpoint/2010/main" val="254300975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2A0824-75AF-4CCD-882B-00DFB808D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Common open-source lice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61F1B7-05CB-4933-B2E8-76E0E0787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27038" y="1714500"/>
            <a:ext cx="11582400" cy="4400550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Pentagon 15">
            <a:extLst>
              <a:ext uri="{FF2B5EF4-FFF2-40B4-BE49-F238E27FC236}">
                <a16:creationId xmlns:a16="http://schemas.microsoft.com/office/drawing/2014/main" id="{C65025D2-D56B-46E6-ADC6-B545EE465422}"/>
              </a:ext>
            </a:extLst>
          </p:cNvPr>
          <p:cNvSpPr/>
          <p:nvPr/>
        </p:nvSpPr>
        <p:spPr bwMode="auto">
          <a:xfrm>
            <a:off x="4740601" y="1935295"/>
            <a:ext cx="7138311" cy="745595"/>
          </a:xfrm>
          <a:prstGeom prst="homePlate">
            <a:avLst>
              <a:gd name="adj" fmla="val 30837"/>
            </a:avLst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00" tIns="33200" rIns="457200" bIns="66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81057" algn="r" defTabSz="663847">
              <a:defRPr/>
            </a:pPr>
            <a:r>
              <a:rPr lang="en-US" sz="2400">
                <a:latin typeface="+mj-lt"/>
                <a:ea typeface="Segoe UI" pitchFamily="34" charset="0"/>
                <a:cs typeface="Segoe UI" pitchFamily="34" charset="0"/>
              </a:rPr>
              <a:t>Restrictiv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0062D8-2123-4E48-A0CF-E93D483754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42964" y="2829163"/>
            <a:ext cx="3515913" cy="2214203"/>
          </a:xfrm>
          <a:prstGeom prst="rect">
            <a:avLst/>
          </a:prstGeom>
          <a:solidFill>
            <a:srgbClr val="243A5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Bef>
                <a:spcPts val="600"/>
              </a:spcBef>
              <a:spcAft>
                <a:spcPts val="1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ATTRIBUTION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BSD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IT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Apach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C80776-2AE1-47C4-B0FD-A170FAC6B8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485683" y="2829163"/>
            <a:ext cx="3515913" cy="2214203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Aft>
                <a:spcPts val="1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DOWNSTREAM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E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S-R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886395-8C18-49D0-AFF5-F6A04AE00A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28401" y="2829163"/>
            <a:ext cx="3515913" cy="2214203"/>
          </a:xfrm>
          <a:prstGeom prst="rect">
            <a:avLst/>
          </a:prstGeom>
          <a:solidFill>
            <a:schemeClr val="accent6">
              <a:lumMod val="2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Bef>
                <a:spcPts val="1200"/>
              </a:spcBef>
              <a:spcAft>
                <a:spcPts val="1200"/>
              </a:spcAft>
            </a:pPr>
            <a:r>
              <a:rPr lang="en-US" sz="2400">
                <a:solidFill>
                  <a:schemeClr val="bg1"/>
                </a:solidFill>
                <a:cs typeface="Segoe UI" pitchFamily="34" charset="0"/>
                <a:sym typeface="Segoe Light"/>
              </a:rPr>
              <a:t>COPYLEFT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cs typeface="Segoe UI" pitchFamily="34" charset="0"/>
                <a:sym typeface="Segoe Light"/>
              </a:rPr>
              <a:t>G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cs typeface="Segoe UI" pitchFamily="34" charset="0"/>
                <a:sym typeface="Segoe Light"/>
              </a:rPr>
              <a:t>LG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cs typeface="Segoe UI" pitchFamily="34" charset="0"/>
                <a:sym typeface="Segoe Light"/>
              </a:rPr>
              <a:t>AGPL</a:t>
            </a:r>
          </a:p>
        </p:txBody>
      </p:sp>
      <p:sp>
        <p:nvSpPr>
          <p:cNvPr id="7" name="Pentagon 15">
            <a:extLst>
              <a:ext uri="{FF2B5EF4-FFF2-40B4-BE49-F238E27FC236}">
                <a16:creationId xmlns:a16="http://schemas.microsoft.com/office/drawing/2014/main" id="{20197764-8A48-43BC-9CC8-EF8D959A3256}"/>
              </a:ext>
            </a:extLst>
          </p:cNvPr>
          <p:cNvSpPr/>
          <p:nvPr/>
        </p:nvSpPr>
        <p:spPr bwMode="auto">
          <a:xfrm flipH="1">
            <a:off x="621019" y="5165017"/>
            <a:ext cx="7288208" cy="745595"/>
          </a:xfrm>
          <a:prstGeom prst="homePlate">
            <a:avLst>
              <a:gd name="adj" fmla="val 30837"/>
            </a:avLst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0" tIns="33200" rIns="33200" bIns="66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63847">
              <a:defRPr/>
            </a:pPr>
            <a:r>
              <a:rPr lang="en-US" sz="2400">
                <a:latin typeface="+mj-lt"/>
                <a:ea typeface="Segoe UI" pitchFamily="34" charset="0"/>
                <a:cs typeface="Segoe UI" pitchFamily="34" charset="0"/>
              </a:rPr>
              <a:t>Permissive</a:t>
            </a:r>
            <a:endParaRPr lang="en-US" sz="2400" kern="0" spc="-36"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3690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/>
      <p:bldP spid="5" grpId="0" animBg="1"/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12007-FCCD-4CDA-A543-235BA547D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License implications and rating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4074F7C-1E1E-4F5D-9519-7F86A3B789E3}"/>
              </a:ext>
            </a:extLst>
          </p:cNvPr>
          <p:cNvSpPr/>
          <p:nvPr/>
        </p:nvSpPr>
        <p:spPr>
          <a:xfrm>
            <a:off x="466343" y="1461095"/>
            <a:ext cx="1153198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dirty="0">
                <a:latin typeface="+mj-lt"/>
              </a:rPr>
              <a:t>Using a package implies following license requirements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CD46DE-5D07-4A36-971D-65368C857153}"/>
              </a:ext>
            </a:extLst>
          </p:cNvPr>
          <p:cNvSpPr>
            <a:spLocks/>
          </p:cNvSpPr>
          <p:nvPr/>
        </p:nvSpPr>
        <p:spPr bwMode="auto">
          <a:xfrm>
            <a:off x="427037" y="2416175"/>
            <a:ext cx="5681898" cy="2423816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The license type may have a high, medium or low impact on distributed software including i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57B293-3710-42FF-91E3-3AF2EA0CC4DC}"/>
              </a:ext>
            </a:extLst>
          </p:cNvPr>
          <p:cNvSpPr>
            <a:spLocks/>
          </p:cNvSpPr>
          <p:nvPr/>
        </p:nvSpPr>
        <p:spPr bwMode="auto">
          <a:xfrm>
            <a:off x="6316426" y="2416175"/>
            <a:ext cx="5681898" cy="2423816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en-US" sz="2200" dirty="0">
                <a:solidFill>
                  <a:schemeClr val="tx1"/>
                </a:solidFill>
                <a:latin typeface="+mj-lt"/>
              </a:rPr>
              <a:t>License rating indicates impact of use of packages: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Compliancy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Intellectual property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Exclusive rights</a:t>
            </a:r>
          </a:p>
        </p:txBody>
      </p:sp>
    </p:spTree>
    <p:extLst>
      <p:ext uri="{BB962C8B-B14F-4D97-AF65-F5344CB8AC3E}">
        <p14:creationId xmlns:p14="http://schemas.microsoft.com/office/powerpoint/2010/main" val="346506280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3: Managing security and compliance policies</a:t>
            </a:r>
          </a:p>
        </p:txBody>
      </p:sp>
      <p:pic>
        <p:nvPicPr>
          <p:cNvPr id="3" name="Picture 2" descr="Icon of three squares and a cloud">
            <a:extLst>
              <a:ext uri="{FF2B5EF4-FFF2-40B4-BE49-F238E27FC236}">
                <a16:creationId xmlns:a16="http://schemas.microsoft.com/office/drawing/2014/main" id="{133A0996-6928-4FA0-B257-552FC50C1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0949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7290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381AD-4296-4B5B-A173-CAB1822F7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specting and validating code bases for compli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392A79-FF21-4E89-9A4B-F8B595501548}"/>
              </a:ext>
            </a:extLst>
          </p:cNvPr>
          <p:cNvSpPr txBox="1"/>
          <p:nvPr/>
        </p:nvSpPr>
        <p:spPr>
          <a:xfrm>
            <a:off x="486982" y="1393811"/>
            <a:ext cx="11533186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latin typeface="+mj-lt"/>
              </a:rPr>
              <a:t>There are many aspects to building and deploying secure applications</a:t>
            </a:r>
          </a:p>
        </p:txBody>
      </p:sp>
      <p:pic>
        <p:nvPicPr>
          <p:cNvPr id="40" name="Picture 39" descr="Icon of a top view section of human brain">
            <a:extLst>
              <a:ext uri="{FF2B5EF4-FFF2-40B4-BE49-F238E27FC236}">
                <a16:creationId xmlns:a16="http://schemas.microsoft.com/office/drawing/2014/main" id="{F31ADCAB-6A63-4CCC-8201-CDD9730DD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38" y="2040493"/>
            <a:ext cx="1080516" cy="107899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273F85-8AFA-4AF7-987F-94D93630C7A9}"/>
              </a:ext>
            </a:extLst>
          </p:cNvPr>
          <p:cNvSpPr/>
          <p:nvPr/>
        </p:nvSpPr>
        <p:spPr>
          <a:xfrm>
            <a:off x="1850044" y="2261402"/>
            <a:ext cx="10170124" cy="6371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General knowledge proble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E47DCB9-31F6-452E-B4A1-0A23046DF4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3269331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Icon of coding brackets">
            <a:extLst>
              <a:ext uri="{FF2B5EF4-FFF2-40B4-BE49-F238E27FC236}">
                <a16:creationId xmlns:a16="http://schemas.microsoft.com/office/drawing/2014/main" id="{D5446AA3-B1BB-4E89-99B2-9B7FA1A587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138" y="3575944"/>
            <a:ext cx="1080516" cy="107899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EDF9513-9BE7-4A39-9834-CD32D4494196}"/>
              </a:ext>
            </a:extLst>
          </p:cNvPr>
          <p:cNvSpPr/>
          <p:nvPr/>
        </p:nvSpPr>
        <p:spPr>
          <a:xfrm>
            <a:off x="1850044" y="3419177"/>
            <a:ext cx="9960956" cy="139176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Code is created correctly and securely implements the required features, and we need to make sure that the features were designed with </a:t>
            </a:r>
            <a:r>
              <a:rPr lang="en-US" sz="2400" dirty="0">
                <a:solidFill>
                  <a:schemeClr val="tx2"/>
                </a:solidFill>
                <a:latin typeface="+mj-lt"/>
              </a:rPr>
              <a:t>security in mind in the first plac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B42BBD-39B0-4757-BA9C-175D6B7F2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4960790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 descr="Icon of check mark enclosed by an arc">
            <a:extLst>
              <a:ext uri="{FF2B5EF4-FFF2-40B4-BE49-F238E27FC236}">
                <a16:creationId xmlns:a16="http://schemas.microsoft.com/office/drawing/2014/main" id="{CA61C4F3-AE7F-4110-84F5-84D1850303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138" y="5110635"/>
            <a:ext cx="1080516" cy="108051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1AF9674-9103-4FD7-A26A-FE547CCE7248}"/>
              </a:ext>
            </a:extLst>
          </p:cNvPr>
          <p:cNvSpPr/>
          <p:nvPr/>
        </p:nvSpPr>
        <p:spPr>
          <a:xfrm>
            <a:off x="1850044" y="5332307"/>
            <a:ext cx="10170124" cy="6371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Complies with the rules and regulations that it is required to meet</a:t>
            </a:r>
          </a:p>
        </p:txBody>
      </p:sp>
    </p:spTree>
    <p:extLst>
      <p:ext uri="{BB962C8B-B14F-4D97-AF65-F5344CB8AC3E}">
        <p14:creationId xmlns:p14="http://schemas.microsoft.com/office/powerpoint/2010/main" val="12190017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336D2-3D87-49E3-BFB0-955854AE6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Planning to implement OWASP Secure Coding Practices</a:t>
            </a:r>
          </a:p>
        </p:txBody>
      </p:sp>
      <p:pic>
        <p:nvPicPr>
          <p:cNvPr id="51" name="Picture 50" descr="Icon of an organizational chart enclosed in a curly brackets">
            <a:extLst>
              <a:ext uri="{FF2B5EF4-FFF2-40B4-BE49-F238E27FC236}">
                <a16:creationId xmlns:a16="http://schemas.microsoft.com/office/drawing/2014/main" id="{32352FEA-AB8B-4522-8657-84D59F5C0C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21" t="1152" r="1221" b="1152"/>
          <a:stretch>
            <a:fillRect/>
          </a:stretch>
        </p:blipFill>
        <p:spPr>
          <a:xfrm>
            <a:off x="450624" y="1438110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8806C25-781B-4AB2-B582-1CFD9D03AA0B}"/>
              </a:ext>
            </a:extLst>
          </p:cNvPr>
          <p:cNvSpPr/>
          <p:nvPr/>
        </p:nvSpPr>
        <p:spPr>
          <a:xfrm>
            <a:off x="1850044" y="1541134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Start with secure coding practic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EA902D-D1A4-4B1E-BD85-9039EF08D3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2758303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 descr="Icon of a lock pad with a cloud at the centre">
            <a:extLst>
              <a:ext uri="{FF2B5EF4-FFF2-40B4-BE49-F238E27FC236}">
                <a16:creationId xmlns:a16="http://schemas.microsoft.com/office/drawing/2014/main" id="{F5188356-E871-4411-A357-FD07311A5AB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221" t="1221" r="1221" b="1221"/>
          <a:stretch>
            <a:fillRect/>
          </a:stretch>
        </p:blipFill>
        <p:spPr>
          <a:xfrm>
            <a:off x="450624" y="3024362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5DB36E-4583-48BB-97C5-AD4751D91EFA}"/>
              </a:ext>
            </a:extLst>
          </p:cNvPr>
          <p:cNvSpPr/>
          <p:nvPr/>
        </p:nvSpPr>
        <p:spPr>
          <a:xfrm>
            <a:off x="1850044" y="3127386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Web Application Security Project (OWASP)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– A global charitable organization focused on improving the security of softwar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5551BE7-D0DB-40D3-8491-A18F0B366D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4344555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Icon of a book with a bookmark">
            <a:extLst>
              <a:ext uri="{FF2B5EF4-FFF2-40B4-BE49-F238E27FC236}">
                <a16:creationId xmlns:a16="http://schemas.microsoft.com/office/drawing/2014/main" id="{954A74E6-27B4-4139-A569-A7405BCE3B9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221" t="1152" r="1221" b="1152"/>
          <a:stretch>
            <a:fillRect/>
          </a:stretch>
        </p:blipFill>
        <p:spPr>
          <a:xfrm>
            <a:off x="450624" y="4610614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74A5D68-0084-4A84-9355-901BFE6D8231}"/>
              </a:ext>
            </a:extLst>
          </p:cNvPr>
          <p:cNvSpPr/>
          <p:nvPr/>
        </p:nvSpPr>
        <p:spPr>
          <a:xfrm>
            <a:off x="1850044" y="4713638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OWASP regularly publish a set of </a:t>
            </a:r>
            <a:r>
              <a:rPr lang="en-US" sz="2400" i="1" dirty="0">
                <a:solidFill>
                  <a:schemeClr val="tx1"/>
                </a:solidFill>
              </a:rPr>
              <a:t>Secure Coding Practices</a:t>
            </a:r>
          </a:p>
        </p:txBody>
      </p:sp>
    </p:spTree>
    <p:extLst>
      <p:ext uri="{BB962C8B-B14F-4D97-AF65-F5344CB8AC3E}">
        <p14:creationId xmlns:p14="http://schemas.microsoft.com/office/powerpoint/2010/main" val="15171937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381AD-4296-4B5B-A173-CAB1822F7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specting and validating code bases for compliance</a:t>
            </a:r>
          </a:p>
        </p:txBody>
      </p:sp>
      <p:pic>
        <p:nvPicPr>
          <p:cNvPr id="27" name="Picture 26" descr="Icon of a magnifying glass showing a chart">
            <a:extLst>
              <a:ext uri="{FF2B5EF4-FFF2-40B4-BE49-F238E27FC236}">
                <a16:creationId xmlns:a16="http://schemas.microsoft.com/office/drawing/2014/main" id="{CD66C72A-4412-4662-8041-65D2A6025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38" y="1707026"/>
            <a:ext cx="952500" cy="952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D216657-5D3B-45C9-9B73-FBAD417F103C}"/>
              </a:ext>
            </a:extLst>
          </p:cNvPr>
          <p:cNvSpPr/>
          <p:nvPr/>
        </p:nvSpPr>
        <p:spPr>
          <a:xfrm>
            <a:off x="1741714" y="1657467"/>
            <a:ext cx="10267724" cy="9144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sz="2400" err="1">
                <a:solidFill>
                  <a:schemeClr val="tx2"/>
                </a:solidFill>
                <a:latin typeface="+mj-lt"/>
              </a:rPr>
              <a:t>BinSkim</a:t>
            </a:r>
            <a:r>
              <a:rPr lang="en-US" sz="2400"/>
              <a:t> is a static analysis tool that scans binary fi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C04ED3-C26D-4729-9793-A0E7A4DB4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741714" y="2774854"/>
            <a:ext cx="1026772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 of three gears with varying sizes">
            <a:extLst>
              <a:ext uri="{FF2B5EF4-FFF2-40B4-BE49-F238E27FC236}">
                <a16:creationId xmlns:a16="http://schemas.microsoft.com/office/drawing/2014/main" id="{318B6B04-76CD-4669-9734-495F9A9C1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364" y="3026383"/>
            <a:ext cx="950976" cy="95097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DF30A3B-0091-431B-BB8D-89A3C93D448B}"/>
              </a:ext>
            </a:extLst>
          </p:cNvPr>
          <p:cNvSpPr/>
          <p:nvPr/>
        </p:nvSpPr>
        <p:spPr>
          <a:xfrm>
            <a:off x="1741714" y="2976570"/>
            <a:ext cx="10267724" cy="9144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+mj-lt"/>
              </a:rPr>
              <a:t>OWASP Zed Attack Proxy Scan </a:t>
            </a:r>
            <a:r>
              <a:rPr lang="en-US" sz="2400" dirty="0"/>
              <a:t>is an open-source web app scanner for professional penetration testers 	</a:t>
            </a:r>
          </a:p>
        </p:txBody>
      </p:sp>
    </p:spTree>
    <p:extLst>
      <p:ext uri="{BB962C8B-B14F-4D97-AF65-F5344CB8AC3E}">
        <p14:creationId xmlns:p14="http://schemas.microsoft.com/office/powerpoint/2010/main" val="289602106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BF933-5921-4DD7-9360-CD836AB6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Discussion: Security policy tooling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2CD040F-A468-48BF-9D76-7ACA0CB1368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2265589" y="2414234"/>
            <a:ext cx="3326880" cy="3326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  <a:t>Which security policy tools do you currently use?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DEEB079-4500-4597-8039-1090CB92FC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844007" y="2414234"/>
            <a:ext cx="3326880" cy="3326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  <a:t>What do you</a:t>
            </a:r>
            <a:br>
              <a:rPr lang="en-US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</a:br>
            <a:r>
              <a:rPr lang="en-US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  <a:t>like or don’t like about the tool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9A73BD-FFEC-469E-AB34-DF5A21C7BBB8}"/>
              </a:ext>
            </a:extLst>
          </p:cNvPr>
          <p:cNvSpPr txBox="1"/>
          <p:nvPr/>
        </p:nvSpPr>
        <p:spPr>
          <a:xfrm>
            <a:off x="418646" y="1392974"/>
            <a:ext cx="11599184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>
                <a:solidFill>
                  <a:schemeClr val="tx2"/>
                </a:solidFill>
                <a:latin typeface="+mj-lt"/>
              </a:rPr>
              <a:t>Azure DevOps can be integrated with a wide range of existing tooling </a:t>
            </a:r>
            <a:br>
              <a:rPr lang="en-US" sz="2400">
                <a:solidFill>
                  <a:schemeClr val="tx2"/>
                </a:solidFill>
                <a:latin typeface="+mj-lt"/>
              </a:rPr>
            </a:br>
            <a:r>
              <a:rPr lang="en-US" sz="2400">
                <a:solidFill>
                  <a:schemeClr val="tx2"/>
                </a:solidFill>
                <a:latin typeface="+mj-lt"/>
              </a:rPr>
              <a:t>that is used for checking security policy during builds</a:t>
            </a:r>
          </a:p>
        </p:txBody>
      </p:sp>
    </p:spTree>
    <p:extLst>
      <p:ext uri="{BB962C8B-B14F-4D97-AF65-F5344CB8AC3E}">
        <p14:creationId xmlns:p14="http://schemas.microsoft.com/office/powerpoint/2010/main" val="285535761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4: Integrating license and vulnerability scans</a:t>
            </a:r>
          </a:p>
        </p:txBody>
      </p:sp>
      <p:pic>
        <p:nvPicPr>
          <p:cNvPr id="2" name="Picture 1" descr="Icon of a screen with filled chart ">
            <a:extLst>
              <a:ext uri="{FF2B5EF4-FFF2-40B4-BE49-F238E27FC236}">
                <a16:creationId xmlns:a16="http://schemas.microsoft.com/office/drawing/2014/main" id="{240B9F7F-2988-405A-8CC9-BFF807516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8259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41371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8F6A3-7468-4B07-9B89-7F4CFF65B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mplement continuous security validation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1CC49503-5232-4809-A20D-2F59639A1D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63" y="1355725"/>
            <a:ext cx="11572874" cy="3724275"/>
          </a:xfrm>
          <a:prstGeom prst="rect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137160" rIns="182880" bIns="13716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B97A3920-EAA6-438A-AA19-D20EBEF93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086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Coding</a:t>
            </a:r>
          </a:p>
        </p:txBody>
      </p:sp>
      <p:pic>
        <p:nvPicPr>
          <p:cNvPr id="26" name="Picture 25" descr="Icon of a person sitting in a desk">
            <a:extLst>
              <a:ext uri="{FF2B5EF4-FFF2-40B4-BE49-F238E27FC236}">
                <a16:creationId xmlns:a16="http://schemas.microsoft.com/office/drawing/2014/main" id="{D624E4FD-3998-40DD-9900-33CEC8BBF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9759" y="2335546"/>
            <a:ext cx="1158558" cy="1158558"/>
          </a:xfrm>
          <a:prstGeom prst="rect">
            <a:avLst/>
          </a:prstGeom>
        </p:spPr>
      </p:pic>
      <p:sp>
        <p:nvSpPr>
          <p:cNvPr id="16" name="Rectangle 5">
            <a:extLst>
              <a:ext uri="{FF2B5EF4-FFF2-40B4-BE49-F238E27FC236}">
                <a16:creationId xmlns:a16="http://schemas.microsoft.com/office/drawing/2014/main" id="{4B3CDABB-9923-48FB-B476-5657E773F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086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80/defect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1FD08896-D350-40BE-8366-5B109EFE7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6298" y="1509486"/>
            <a:ext cx="2709450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Build</a:t>
            </a:r>
          </a:p>
        </p:txBody>
      </p:sp>
      <p:pic>
        <p:nvPicPr>
          <p:cNvPr id="20" name="Picture 19" descr="Icon of a screen with three circles enclosed by outward pointing chevrons on left and right">
            <a:extLst>
              <a:ext uri="{FF2B5EF4-FFF2-40B4-BE49-F238E27FC236}">
                <a16:creationId xmlns:a16="http://schemas.microsoft.com/office/drawing/2014/main" id="{7F53EC2D-8330-4F78-B35E-334DC85144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4365" y="2339517"/>
            <a:ext cx="1533316" cy="1150616"/>
          </a:xfrm>
          <a:prstGeom prst="rect">
            <a:avLst/>
          </a:prstGeom>
        </p:spPr>
      </p:pic>
      <p:sp>
        <p:nvSpPr>
          <p:cNvPr id="17" name="Rectangle 7">
            <a:extLst>
              <a:ext uri="{FF2B5EF4-FFF2-40B4-BE49-F238E27FC236}">
                <a16:creationId xmlns:a16="http://schemas.microsoft.com/office/drawing/2014/main" id="{6955661C-516A-4183-B506-2A9B43E42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6298" y="3918858"/>
            <a:ext cx="2709450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240/defect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DA1B9AF2-55EF-41AC-ABDB-11DF9D80C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056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QA &amp; security</a:t>
            </a:r>
          </a:p>
        </p:txBody>
      </p:sp>
      <p:pic>
        <p:nvPicPr>
          <p:cNvPr id="24" name="Picture 23" descr="Icon of a magnifying glass">
            <a:extLst>
              <a:ext uri="{FF2B5EF4-FFF2-40B4-BE49-F238E27FC236}">
                <a16:creationId xmlns:a16="http://schemas.microsoft.com/office/drawing/2014/main" id="{83DFF2F7-6521-4A45-9551-22EB55A55D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3729" y="2335546"/>
            <a:ext cx="1158558" cy="1158558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526C016E-96AD-4714-8B30-3FDDE34D74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056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960/de</a:t>
            </a:r>
            <a:r>
              <a:rPr lang="en-US" altLang="en-US" sz="2000" dirty="0"/>
              <a:t>f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ect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F6C722F9-A5BD-4218-86C5-83D5902A1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0268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Production</a:t>
            </a:r>
          </a:p>
        </p:txBody>
      </p:sp>
      <p:pic>
        <p:nvPicPr>
          <p:cNvPr id="22" name="Picture 21" descr="Icon of a screen with filled chart ">
            <a:extLst>
              <a:ext uri="{FF2B5EF4-FFF2-40B4-BE49-F238E27FC236}">
                <a16:creationId xmlns:a16="http://schemas.microsoft.com/office/drawing/2014/main" id="{A06090E2-824E-4122-B6ED-9A7AD8CF57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04885" y="2390037"/>
            <a:ext cx="1398670" cy="1049576"/>
          </a:xfrm>
          <a:prstGeom prst="rect">
            <a:avLst/>
          </a:prstGeom>
        </p:spPr>
      </p:pic>
      <p:sp>
        <p:nvSpPr>
          <p:cNvPr id="21" name="Rectangle 11">
            <a:extLst>
              <a:ext uri="{FF2B5EF4-FFF2-40B4-BE49-F238E27FC236}">
                <a16:creationId xmlns:a16="http://schemas.microsoft.com/office/drawing/2014/main" id="{06A5D1E6-12D8-4500-8EF8-484B1D364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0268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7,600/defec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E0B5E5-F86A-41F9-B68C-2C6251F3E85A}"/>
              </a:ext>
            </a:extLst>
          </p:cNvPr>
          <p:cNvSpPr/>
          <p:nvPr/>
        </p:nvSpPr>
        <p:spPr>
          <a:xfrm>
            <a:off x="509134" y="4743195"/>
            <a:ext cx="30201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rgbClr val="000000"/>
                </a:solidFill>
              </a:rPr>
              <a:t>Source: </a:t>
            </a:r>
            <a:r>
              <a:rPr lang="en-US" sz="1400" dirty="0" err="1">
                <a:solidFill>
                  <a:srgbClr val="000000"/>
                </a:solidFill>
              </a:rPr>
              <a:t>Ponemon</a:t>
            </a:r>
            <a:r>
              <a:rPr lang="en-US" sz="1400" dirty="0">
                <a:solidFill>
                  <a:srgbClr val="000000"/>
                </a:solidFill>
              </a:rPr>
              <a:t> Institute Researc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CC0043-D8A8-49B5-891C-95C5E50C52BA}"/>
              </a:ext>
            </a:extLst>
          </p:cNvPr>
          <p:cNvSpPr/>
          <p:nvPr/>
        </p:nvSpPr>
        <p:spPr>
          <a:xfrm>
            <a:off x="427037" y="5228771"/>
            <a:ext cx="5711360" cy="11858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ctr" anchorCtr="0">
            <a:noAutofit/>
          </a:bodyPr>
          <a:lstStyle/>
          <a:p>
            <a:r>
              <a:rPr lang="en-US" sz="2400">
                <a:solidFill>
                  <a:schemeClr val="tx1"/>
                </a:solidFill>
              </a:rPr>
              <a:t>Reduce cost by moving </a:t>
            </a:r>
            <a:r>
              <a:rPr lang="en-US" sz="2400" err="1">
                <a:solidFill>
                  <a:schemeClr val="tx1"/>
                </a:solidFill>
              </a:rPr>
              <a:t>DevSecOps</a:t>
            </a:r>
            <a:r>
              <a:rPr lang="en-US" sz="2400">
                <a:solidFill>
                  <a:schemeClr val="tx1"/>
                </a:solidFill>
              </a:rPr>
              <a:t> to the left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C5751E-4390-471F-B674-08D06092D7CF}"/>
              </a:ext>
            </a:extLst>
          </p:cNvPr>
          <p:cNvSpPr/>
          <p:nvPr/>
        </p:nvSpPr>
        <p:spPr>
          <a:xfrm>
            <a:off x="6298076" y="5228771"/>
            <a:ext cx="5711360" cy="11858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ctr" anchorCtr="0">
            <a:noAutofit/>
          </a:bodyPr>
          <a:lstStyle/>
          <a:p>
            <a:r>
              <a:rPr lang="en-US" sz="2400">
                <a:solidFill>
                  <a:schemeClr val="tx1"/>
                </a:solidFill>
              </a:rPr>
              <a:t>Use automated tooling and </a:t>
            </a:r>
            <a:br>
              <a:rPr lang="en-US" sz="2400">
                <a:solidFill>
                  <a:schemeClr val="tx1"/>
                </a:solidFill>
              </a:rPr>
            </a:br>
            <a:r>
              <a:rPr lang="en-US" sz="2400">
                <a:solidFill>
                  <a:schemeClr val="tx1"/>
                </a:solidFill>
              </a:rPr>
              <a:t>processes to identify problems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98356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48C5-BFF6-4773-868E-BCA356B3A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WASP ZAP penetration test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9A36C5-AD71-4EE4-B0A2-3007B4662A7A}"/>
              </a:ext>
            </a:extLst>
          </p:cNvPr>
          <p:cNvSpPr/>
          <p:nvPr/>
        </p:nvSpPr>
        <p:spPr>
          <a:xfrm>
            <a:off x="450850" y="1498050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en-US" sz="2200" dirty="0">
                <a:solidFill>
                  <a:schemeClr val="tx1"/>
                </a:solidFill>
              </a:rPr>
              <a:t>OWASP ZAP can be used for penetration testing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40B1534-69D9-4957-A399-8B2E59AFDB5F}"/>
              </a:ext>
            </a:extLst>
          </p:cNvPr>
          <p:cNvSpPr/>
          <p:nvPr/>
        </p:nvSpPr>
        <p:spPr>
          <a:xfrm>
            <a:off x="450850" y="2805838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en-US" sz="2200">
                <a:solidFill>
                  <a:schemeClr val="tx1"/>
                </a:solidFill>
              </a:rPr>
              <a:t>Testing can be active </a:t>
            </a:r>
            <a:br>
              <a:rPr lang="en-US" sz="2200">
                <a:solidFill>
                  <a:schemeClr val="tx1"/>
                </a:solidFill>
              </a:rPr>
            </a:br>
            <a:r>
              <a:rPr lang="en-US" sz="2200">
                <a:solidFill>
                  <a:schemeClr val="tx1"/>
                </a:solidFill>
              </a:rPr>
              <a:t>or passiv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C16135B-2DB4-4041-84AB-001E8198C718}"/>
              </a:ext>
            </a:extLst>
          </p:cNvPr>
          <p:cNvSpPr/>
          <p:nvPr/>
        </p:nvSpPr>
        <p:spPr>
          <a:xfrm>
            <a:off x="450850" y="4113626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en-US" sz="2200">
                <a:solidFill>
                  <a:schemeClr val="tx1"/>
                </a:solidFill>
              </a:rPr>
              <a:t>Conduct a quick baseline scan to identify vulnerabilities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ACB522E-8BDD-4659-AA8C-DA95C85C0652}"/>
              </a:ext>
            </a:extLst>
          </p:cNvPr>
          <p:cNvSpPr/>
          <p:nvPr/>
        </p:nvSpPr>
        <p:spPr>
          <a:xfrm>
            <a:off x="450850" y="5421414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en-US" sz="2200">
                <a:solidFill>
                  <a:schemeClr val="tx1"/>
                </a:solidFill>
              </a:rPr>
              <a:t>Conduct nightly more</a:t>
            </a:r>
            <a:br>
              <a:rPr lang="en-US" sz="2200">
                <a:solidFill>
                  <a:schemeClr val="tx1"/>
                </a:solidFill>
              </a:rPr>
            </a:br>
            <a:r>
              <a:rPr lang="en-US" sz="2200">
                <a:solidFill>
                  <a:schemeClr val="tx1"/>
                </a:solidFill>
              </a:rPr>
              <a:t> intensive scans</a:t>
            </a:r>
          </a:p>
        </p:txBody>
      </p:sp>
      <p:pic>
        <p:nvPicPr>
          <p:cNvPr id="15" name="Picture 14" descr="The application pipeline as a nightly OWASP Zap pipeline">
            <a:extLst>
              <a:ext uri="{FF2B5EF4-FFF2-40B4-BE49-F238E27FC236}">
                <a16:creationId xmlns:a16="http://schemas.microsoft.com/office/drawing/2014/main" id="{1B3275D6-BF12-4D8D-A9C9-D08A99E202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5433" y="1491240"/>
            <a:ext cx="7023201" cy="50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3784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1: Module overview</a:t>
            </a:r>
          </a:p>
        </p:txBody>
      </p:sp>
      <p:pic>
        <p:nvPicPr>
          <p:cNvPr id="2" name="Picture 1" descr="Icon of a magnifying glass">
            <a:extLst>
              <a:ext uri="{FF2B5EF4-FFF2-40B4-BE49-F238E27FC236}">
                <a16:creationId xmlns:a16="http://schemas.microsoft.com/office/drawing/2014/main" id="{6EF11033-F145-45ED-9B07-7C9B7A4A08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9356" y="3044782"/>
            <a:ext cx="957144" cy="957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7778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EED6B-A4BB-4B5D-9688-FABB964B7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WASP ZAP results and bu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3BF2CC-0463-4081-B784-BF588C7794B2}"/>
              </a:ext>
            </a:extLst>
          </p:cNvPr>
          <p:cNvSpPr/>
          <p:nvPr/>
        </p:nvSpPr>
        <p:spPr>
          <a:xfrm>
            <a:off x="427038" y="1346199"/>
            <a:ext cx="3611562" cy="24349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t" anchorCtr="0"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OWASP ZAP provides a report with results</a:t>
            </a:r>
          </a:p>
          <a:p>
            <a:r>
              <a:rPr lang="en-US" sz="2400" dirty="0">
                <a:solidFill>
                  <a:schemeClr val="tx1"/>
                </a:solidFill>
              </a:rPr>
              <a:t>and bug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34C78C-F27B-4F82-9C91-29603929AABB}"/>
              </a:ext>
            </a:extLst>
          </p:cNvPr>
          <p:cNvSpPr/>
          <p:nvPr/>
        </p:nvSpPr>
        <p:spPr>
          <a:xfrm>
            <a:off x="427038" y="3908694"/>
            <a:ext cx="3611562" cy="24349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t" anchorCtr="0"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Use a holistic and layered approach to security</a:t>
            </a:r>
          </a:p>
        </p:txBody>
      </p:sp>
      <p:pic>
        <p:nvPicPr>
          <p:cNvPr id="9" name="Picture 8" descr="Screenshot of OWASP surfaced vulnerabilities">
            <a:extLst>
              <a:ext uri="{FF2B5EF4-FFF2-40B4-BE49-F238E27FC236}">
                <a16:creationId xmlns:a16="http://schemas.microsoft.com/office/drawing/2014/main" id="{CAA727F2-FB05-4034-B570-07FA0B362F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17" t="-2515" r="819" b="-2515"/>
          <a:stretch/>
        </p:blipFill>
        <p:spPr>
          <a:xfrm>
            <a:off x="4171950" y="1346198"/>
            <a:ext cx="7837487" cy="4988673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</p:pic>
    </p:spTree>
    <p:extLst>
      <p:ext uri="{BB962C8B-B14F-4D97-AF65-F5344CB8AC3E}">
        <p14:creationId xmlns:p14="http://schemas.microsoft.com/office/powerpoint/2010/main" val="152556227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44CD0-04CA-47E4-83FB-ADD4927E3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Tools for assessing package security and license rat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E4461E-087D-47BF-893D-EC653D1CBA14}"/>
              </a:ext>
            </a:extLst>
          </p:cNvPr>
          <p:cNvSpPr>
            <a:spLocks/>
          </p:cNvSpPr>
          <p:nvPr/>
        </p:nvSpPr>
        <p:spPr bwMode="auto">
          <a:xfrm>
            <a:off x="427036" y="1757363"/>
            <a:ext cx="5706722" cy="11287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n-US" sz="2400">
                <a:solidFill>
                  <a:schemeClr val="tx1"/>
                </a:solidFill>
                <a:latin typeface="+mj-lt"/>
              </a:rPr>
              <a:t>Approach 1: </a:t>
            </a:r>
            <a:br>
              <a:rPr lang="en-US" sz="2400">
                <a:solidFill>
                  <a:schemeClr val="tx1"/>
                </a:solidFill>
                <a:latin typeface="+mj-lt"/>
              </a:rPr>
            </a:br>
            <a:r>
              <a:rPr lang="en-US" sz="2400">
                <a:solidFill>
                  <a:schemeClr val="tx1"/>
                </a:solidFill>
              </a:rPr>
              <a:t>Scan centralized artifact reposito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0F0A18-759E-40B7-B2C2-95512B674A3F}"/>
              </a:ext>
            </a:extLst>
          </p:cNvPr>
          <p:cNvSpPr>
            <a:spLocks/>
          </p:cNvSpPr>
          <p:nvPr/>
        </p:nvSpPr>
        <p:spPr bwMode="auto">
          <a:xfrm>
            <a:off x="6291602" y="1757363"/>
            <a:ext cx="5706722" cy="11287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en-US" sz="2400">
                <a:solidFill>
                  <a:schemeClr val="tx1"/>
                </a:solidFill>
                <a:latin typeface="+mj-lt"/>
              </a:rPr>
              <a:t>Approach 2: </a:t>
            </a:r>
            <a:br>
              <a:rPr lang="en-US" sz="2400">
                <a:solidFill>
                  <a:schemeClr val="tx1"/>
                </a:solidFill>
                <a:latin typeface="+mj-lt"/>
              </a:rPr>
            </a:br>
            <a:r>
              <a:rPr lang="en-US" sz="2400">
                <a:solidFill>
                  <a:schemeClr val="tx1"/>
                </a:solidFill>
              </a:rPr>
              <a:t>Tooling during build in pipelin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522225A-E34C-4DAE-8DEB-8A8D135B0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838128"/>
              </p:ext>
            </p:extLst>
          </p:nvPr>
        </p:nvGraphicFramePr>
        <p:xfrm>
          <a:off x="427038" y="3040061"/>
          <a:ext cx="11571288" cy="237744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5785644">
                  <a:extLst>
                    <a:ext uri="{9D8B030D-6E8A-4147-A177-3AD203B41FA5}">
                      <a16:colId xmlns:a16="http://schemas.microsoft.com/office/drawing/2014/main" val="1345882144"/>
                    </a:ext>
                  </a:extLst>
                </a:gridCol>
                <a:gridCol w="5785644">
                  <a:extLst>
                    <a:ext uri="{9D8B030D-6E8A-4147-A177-3AD203B41FA5}">
                      <a16:colId xmlns:a16="http://schemas.microsoft.com/office/drawing/2014/main" val="108609170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 Semibold" panose="020B0702040204020203" pitchFamily="34" charset="0"/>
                        </a:rPr>
                        <a:t>Tool</a:t>
                      </a:r>
                      <a:endParaRPr lang="en-US" sz="2400" b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A5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 Semibold" panose="020B0702040204020203" pitchFamily="34" charset="0"/>
                        </a:rPr>
                        <a:t>Type</a:t>
                      </a:r>
                      <a:endParaRPr lang="en-US" sz="2400" b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A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16738"/>
                  </a:ext>
                </a:extLst>
              </a:tr>
              <a:tr h="412932">
                <a:tc>
                  <a:txBody>
                    <a:bodyPr/>
                    <a:lstStyle/>
                    <a:p>
                      <a:pPr marL="0" marR="0" algn="just" defTabSz="932742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Artifactory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rtifact repository</a:t>
                      </a:r>
                      <a:endParaRPr lang="en-US" sz="2000" b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5249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SonarQube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Static code analysis tool</a:t>
                      </a:r>
                      <a:endParaRPr lang="en-US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15038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White Source(Bolt)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Build scanning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13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524418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33F99A7-B017-4C7D-9CDC-CED627CEE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 err="1"/>
              <a:t>SonarCloud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F0B8BE-3547-47A8-B4E9-D2CAFFE4D806}"/>
              </a:ext>
            </a:extLst>
          </p:cNvPr>
          <p:cNvSpPr/>
          <p:nvPr/>
        </p:nvSpPr>
        <p:spPr bwMode="auto">
          <a:xfrm>
            <a:off x="465137" y="1627930"/>
            <a:ext cx="8377306" cy="33526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SonarQube: 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Open platform for managing code quality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Joint investments with Microsoft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Wide range of programming languages supported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Cloud-hosted version: </a:t>
            </a:r>
            <a:r>
              <a:rPr lang="en-US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SonarCloud</a:t>
            </a: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48868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9437B-AC3D-4BB0-A38A-C1D6EC02E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terpret alerts from scanning too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6ECDF2-0192-413A-A68A-319699E5F8D8}"/>
              </a:ext>
            </a:extLst>
          </p:cNvPr>
          <p:cNvSpPr txBox="1">
            <a:spLocks/>
          </p:cNvSpPr>
          <p:nvPr/>
        </p:nvSpPr>
        <p:spPr>
          <a:xfrm>
            <a:off x="436111" y="1334400"/>
            <a:ext cx="5530738" cy="175714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182880" tIns="137160" rIns="182880" bIns="137160" rtlCol="0"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port Contains: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urity vulnerabilities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icense risks and compliancy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utdated librar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EBEB1D-A6B1-4B4C-80CD-00643B85A30B}"/>
              </a:ext>
            </a:extLst>
          </p:cNvPr>
          <p:cNvSpPr txBox="1">
            <a:spLocks/>
          </p:cNvSpPr>
          <p:nvPr/>
        </p:nvSpPr>
        <p:spPr>
          <a:xfrm>
            <a:off x="6097635" y="1334400"/>
            <a:ext cx="5909763" cy="17571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80" tIns="137160" rIns="182880" bIns="137160" rtlCol="0"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pects to keep in mind: 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lse positives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urity bug bar</a:t>
            </a:r>
          </a:p>
        </p:txBody>
      </p:sp>
      <p:pic>
        <p:nvPicPr>
          <p:cNvPr id="3" name="Picture 2" descr="A screenshot showing security with Vulnerability Score, Vulnerable Libraries, Severity Distribution and Aging Vulnerable Libraries under it">
            <a:extLst>
              <a:ext uri="{FF2B5EF4-FFF2-40B4-BE49-F238E27FC236}">
                <a16:creationId xmlns:a16="http://schemas.microsoft.com/office/drawing/2014/main" id="{23FC5AE4-2558-4B47-8229-2BF461CF26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514" t="-4054" r="-514"/>
          <a:stretch/>
        </p:blipFill>
        <p:spPr>
          <a:xfrm>
            <a:off x="436110" y="3250521"/>
            <a:ext cx="11571287" cy="2794203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</p:pic>
    </p:spTree>
    <p:extLst>
      <p:ext uri="{BB962C8B-B14F-4D97-AF65-F5344CB8AC3E}">
        <p14:creationId xmlns:p14="http://schemas.microsoft.com/office/powerpoint/2010/main" val="25011323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33F99A7-B017-4C7D-9CDC-CED627CEE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 err="1"/>
              <a:t>CodeQL</a:t>
            </a:r>
            <a:r>
              <a:rPr lang="en-US" dirty="0"/>
              <a:t> in GitHu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5D862-1939-49E3-9019-4FFC8F89045C}"/>
              </a:ext>
            </a:extLst>
          </p:cNvPr>
          <p:cNvSpPr/>
          <p:nvPr/>
        </p:nvSpPr>
        <p:spPr bwMode="auto">
          <a:xfrm>
            <a:off x="465138" y="2201863"/>
            <a:ext cx="5663096" cy="22225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Treats code like </a:t>
            </a:r>
            <a:r>
              <a:rPr lang="en-US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queryable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 data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Standard or custom analysis queri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F0B8BE-3547-47A8-B4E9-D2CAFFE4D806}"/>
              </a:ext>
            </a:extLst>
          </p:cNvPr>
          <p:cNvSpPr/>
          <p:nvPr/>
        </p:nvSpPr>
        <p:spPr bwMode="auto">
          <a:xfrm>
            <a:off x="6351104" y="2201863"/>
            <a:ext cx="5663096" cy="22225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Create a </a:t>
            </a:r>
            <a:r>
              <a:rPr lang="en-AU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CodeQL</a:t>
            </a:r>
            <a:r>
              <a:rPr lang="en-AU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 database (based upon the code)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Run </a:t>
            </a:r>
            <a:r>
              <a:rPr lang="en-AU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CodeQL</a:t>
            </a:r>
            <a:r>
              <a:rPr lang="en-AU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 queries against the database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AU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Interpret the results</a:t>
            </a: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869D5F5C-4F06-4BF6-A386-AF082732AA14}"/>
              </a:ext>
            </a:extLst>
          </p:cNvPr>
          <p:cNvSpPr txBox="1">
            <a:spLocks/>
          </p:cNvSpPr>
          <p:nvPr/>
        </p:nvSpPr>
        <p:spPr>
          <a:xfrm>
            <a:off x="6351104" y="1641057"/>
            <a:ext cx="163339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>
                <a:solidFill>
                  <a:schemeClr val="tx1"/>
                </a:solidFill>
              </a:rPr>
              <a:t>Steps: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3ED617D9-1297-4DF4-BD1A-75D569B2475D}"/>
              </a:ext>
            </a:extLst>
          </p:cNvPr>
          <p:cNvSpPr txBox="1">
            <a:spLocks/>
          </p:cNvSpPr>
          <p:nvPr/>
        </p:nvSpPr>
        <p:spPr>
          <a:xfrm>
            <a:off x="465138" y="1641057"/>
            <a:ext cx="163339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>
                <a:solidFill>
                  <a:schemeClr val="tx1"/>
                </a:solidFill>
              </a:rPr>
              <a:t>Action: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3DE4821-C2C4-4750-9CC4-C9C7D7E8D9C9}"/>
              </a:ext>
            </a:extLst>
          </p:cNvPr>
          <p:cNvSpPr txBox="1">
            <a:spLocks/>
          </p:cNvSpPr>
          <p:nvPr/>
        </p:nvSpPr>
        <p:spPr>
          <a:xfrm>
            <a:off x="465138" y="5193228"/>
            <a:ext cx="1153318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 err="1">
                <a:solidFill>
                  <a:schemeClr val="tx1"/>
                </a:solidFill>
              </a:rPr>
              <a:t>CodeQL</a:t>
            </a:r>
            <a:r>
              <a:rPr lang="en-AU" sz="2400" spc="0" dirty="0">
                <a:solidFill>
                  <a:schemeClr val="tx1"/>
                </a:solidFill>
              </a:rPr>
              <a:t> CLI or </a:t>
            </a:r>
            <a:r>
              <a:rPr lang="en-AU" sz="2400" spc="0" dirty="0" err="1">
                <a:solidFill>
                  <a:schemeClr val="tx1"/>
                </a:solidFill>
              </a:rPr>
              <a:t>CodeQL</a:t>
            </a:r>
            <a:r>
              <a:rPr lang="en-AU" sz="2400" spc="0" dirty="0">
                <a:solidFill>
                  <a:schemeClr val="tx1"/>
                </a:solidFill>
              </a:rPr>
              <a:t> for Visual Studio Code</a:t>
            </a:r>
          </a:p>
        </p:txBody>
      </p:sp>
    </p:spTree>
    <p:extLst>
      <p:ext uri="{BB962C8B-B14F-4D97-AF65-F5344CB8AC3E}">
        <p14:creationId xmlns:p14="http://schemas.microsoft.com/office/powerpoint/2010/main" val="182602219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ACEE4-474E-4B40-811E-AD4DBD723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AU" dirty="0"/>
              <a:t>GitHub </a:t>
            </a:r>
            <a:r>
              <a:rPr lang="en-AU" dirty="0" err="1"/>
              <a:t>Dependabot</a:t>
            </a:r>
            <a:r>
              <a:rPr lang="en-AU" dirty="0"/>
              <a:t> alerts and security updates</a:t>
            </a:r>
            <a:endParaRPr lang="en-US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31C4369-25A7-41E2-8645-317CD0F91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86000"/>
            <a:ext cx="12436475" cy="141278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58CF76E1-4BF8-4058-A647-74339C8F9D49}"/>
              </a:ext>
            </a:extLst>
          </p:cNvPr>
          <p:cNvSpPr/>
          <p:nvPr/>
        </p:nvSpPr>
        <p:spPr>
          <a:xfrm>
            <a:off x="549274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Check for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updat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27ED76C-D4F4-4FD0-9BE6-651F862FA77A}"/>
              </a:ext>
            </a:extLst>
          </p:cNvPr>
          <p:cNvSpPr/>
          <p:nvPr/>
        </p:nvSpPr>
        <p:spPr>
          <a:xfrm>
            <a:off x="3512077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Alert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8E9BD66-80CA-4BB5-9FF9-78E63AF93EFF}"/>
              </a:ext>
            </a:extLst>
          </p:cNvPr>
          <p:cNvSpPr/>
          <p:nvPr/>
        </p:nvSpPr>
        <p:spPr>
          <a:xfrm>
            <a:off x="6474881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Automated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pull request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F498F55-03F6-44BD-A4D7-1AFBB820D059}"/>
              </a:ext>
            </a:extLst>
          </p:cNvPr>
          <p:cNvSpPr/>
          <p:nvPr/>
        </p:nvSpPr>
        <p:spPr>
          <a:xfrm>
            <a:off x="9437684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Review and 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triage</a:t>
            </a:r>
          </a:p>
        </p:txBody>
      </p:sp>
    </p:spTree>
    <p:extLst>
      <p:ext uri="{BB962C8B-B14F-4D97-AF65-F5344CB8AC3E}">
        <p14:creationId xmlns:p14="http://schemas.microsoft.com/office/powerpoint/2010/main" val="212794254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5: Lab</a:t>
            </a:r>
          </a:p>
        </p:txBody>
      </p:sp>
      <p:pic>
        <p:nvPicPr>
          <p:cNvPr id="3" name="Picture 2" descr="Icon of a lab flask">
            <a:extLst>
              <a:ext uri="{FF2B5EF4-FFF2-40B4-BE49-F238E27FC236}">
                <a16:creationId xmlns:a16="http://schemas.microsoft.com/office/drawing/2014/main" id="{F6DA0743-00B1-4C27-8265-AABACB262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965" y="2908300"/>
            <a:ext cx="815620" cy="118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4609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65138" y="567457"/>
            <a:ext cx="11530584" cy="830020"/>
          </a:xfrm>
        </p:spPr>
        <p:txBody>
          <a:bodyPr/>
          <a:lstStyle/>
          <a:p>
            <a:r>
              <a:rPr lang="en-AU" dirty="0"/>
              <a:t>Managing technical debt with SonarQube and Azure DevOp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600200" y="1485899"/>
            <a:ext cx="10409238" cy="914400"/>
          </a:xfrm>
        </p:spPr>
        <p:txBody>
          <a:bodyPr/>
          <a:lstStyle/>
          <a:p>
            <a:pPr lvl="1"/>
            <a:r>
              <a:rPr lang="en-US" dirty="0"/>
              <a:t>Lab overview:</a:t>
            </a:r>
          </a:p>
          <a:p>
            <a:pPr lvl="1"/>
            <a:r>
              <a:rPr lang="en-US" dirty="0"/>
              <a:t>In this lab, you will learn how to setup SonarQube on Azure and integrate it with Azure DevOps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23EE74-D03B-43E6-8DA4-03A69A4F70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325" y="3587749"/>
            <a:ext cx="5543550" cy="2540677"/>
          </a:xfrm>
        </p:spPr>
        <p:txBody>
          <a:bodyPr/>
          <a:lstStyle/>
          <a:p>
            <a:r>
              <a:rPr lang="en-US" dirty="0"/>
              <a:t>Objectiv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rovision SonarQube server as an </a:t>
            </a:r>
            <a:r>
              <a:rPr lang="en-US" sz="1800" dirty="0">
                <a:hlinkClick r:id="rId3"/>
              </a:rPr>
              <a:t>Azure Container Instance</a:t>
            </a:r>
            <a:r>
              <a:rPr lang="en-US" sz="1800" dirty="0"/>
              <a:t> from the SonarQube Docker im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et up a SonarQube 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rovision an Azure DevOps Project and configure CI pipeline to integrate with SonarQub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nalyze SonarQube report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3059D41-9728-4B58-9237-CADB42E28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64672" y="3587932"/>
            <a:ext cx="5544766" cy="2540494"/>
          </a:xfrm>
        </p:spPr>
        <p:txBody>
          <a:bodyPr/>
          <a:lstStyle/>
          <a:p>
            <a:r>
              <a:rPr lang="en-US" dirty="0"/>
              <a:t>Duration:</a:t>
            </a:r>
          </a:p>
        </p:txBody>
      </p:sp>
      <p:grpSp>
        <p:nvGrpSpPr>
          <p:cNvPr id="22" name="Group 21" descr="Icon of a bulb">
            <a:extLst>
              <a:ext uri="{FF2B5EF4-FFF2-40B4-BE49-F238E27FC236}">
                <a16:creationId xmlns:a16="http://schemas.microsoft.com/office/drawing/2014/main" id="{532636F5-FEE9-4794-A28F-4B991A3E3012}"/>
              </a:ext>
            </a:extLst>
          </p:cNvPr>
          <p:cNvGrpSpPr/>
          <p:nvPr/>
        </p:nvGrpSpPr>
        <p:grpSpPr>
          <a:xfrm>
            <a:off x="427859" y="1485899"/>
            <a:ext cx="914269" cy="914398"/>
            <a:chOff x="3031669" y="4181240"/>
            <a:chExt cx="702132" cy="70223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968E878-80EC-45B0-90F5-557E321293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031669" y="4181240"/>
              <a:ext cx="702132" cy="702231"/>
              <a:chOff x="7962901" y="3032919"/>
              <a:chExt cx="981074" cy="981076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27C23F06-B917-4EB8-9B2F-B33416B6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2901" y="3032919"/>
                <a:ext cx="981074" cy="98107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4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383D5909-A731-4FF6-8FE2-656861218C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1163" y="3102770"/>
                <a:ext cx="846137" cy="844550"/>
              </a:xfrm>
              <a:prstGeom prst="ellipse">
                <a:avLst/>
              </a:prstGeom>
              <a:noFill/>
              <a:ln w="28575">
                <a:solidFill>
                  <a:schemeClr val="tx2"/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4"/>
              </a:p>
            </p:txBody>
          </p:sp>
        </p:grpSp>
        <p:pic>
          <p:nvPicPr>
            <p:cNvPr id="24" name="Picture 23" descr="Icon of a bulb">
              <a:extLst>
                <a:ext uri="{FF2B5EF4-FFF2-40B4-BE49-F238E27FC236}">
                  <a16:creationId xmlns:a16="http://schemas.microsoft.com/office/drawing/2014/main" id="{8CEED23D-F446-4B18-9872-F167497CC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48883" y="4346193"/>
              <a:ext cx="267705" cy="372325"/>
            </a:xfrm>
            <a:prstGeom prst="rect">
              <a:avLst/>
            </a:prstGeom>
          </p:spPr>
        </p:pic>
      </p:grpSp>
      <p:graphicFrame>
        <p:nvGraphicFramePr>
          <p:cNvPr id="4" name="!!timer" descr="Pie chart indicating that students have 45 minutes (out of 60 minutes total) to complete the lab.">
            <a:extLst>
              <a:ext uri="{FF2B5EF4-FFF2-40B4-BE49-F238E27FC236}">
                <a16:creationId xmlns:a16="http://schemas.microsoft.com/office/drawing/2014/main" id="{C9185D39-4EAA-4D92-A08E-1EDDF1A983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599416"/>
              </p:ext>
            </p:extLst>
          </p:nvPr>
        </p:nvGraphicFramePr>
        <p:xfrm>
          <a:off x="7723403" y="3848985"/>
          <a:ext cx="3027304" cy="2018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029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6: Module review and takeaways</a:t>
            </a:r>
          </a:p>
        </p:txBody>
      </p:sp>
      <p:pic>
        <p:nvPicPr>
          <p:cNvPr id="6" name="Picture 5" descr="Icon of a document with a checkmark">
            <a:extLst>
              <a:ext uri="{FF2B5EF4-FFF2-40B4-BE49-F238E27FC236}">
                <a16:creationId xmlns:a16="http://schemas.microsoft.com/office/drawing/2014/main" id="{79DA49A5-9A72-4157-A6DC-36BEBB411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7290" y="2980403"/>
            <a:ext cx="710785" cy="103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664733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What did you learn ?</a:t>
            </a:r>
          </a:p>
        </p:txBody>
      </p:sp>
      <p:pic>
        <p:nvPicPr>
          <p:cNvPr id="70" name="Picture 69" descr="Icon of a hollow circle">
            <a:extLst>
              <a:ext uri="{FF2B5EF4-FFF2-40B4-BE49-F238E27FC236}">
                <a16:creationId xmlns:a16="http://schemas.microsoft.com/office/drawing/2014/main" id="{2485CC25-DAA5-418C-B702-A4C6A536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223" y="1851303"/>
            <a:ext cx="630936" cy="63246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27C301BF-9D46-44C8-A055-18088408385F}"/>
              </a:ext>
            </a:extLst>
          </p:cNvPr>
          <p:cNvSpPr>
            <a:spLocks/>
          </p:cNvSpPr>
          <p:nvPr/>
        </p:nvSpPr>
        <p:spPr>
          <a:xfrm>
            <a:off x="1250950" y="2045480"/>
            <a:ext cx="10707688" cy="244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Describe the potential challenges with integrating open-source softwa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35B81A-491C-42F8-874F-13B44EE92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2538574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 descr="Icon of three circles and aligned to three lines">
            <a:extLst>
              <a:ext uri="{FF2B5EF4-FFF2-40B4-BE49-F238E27FC236}">
                <a16:creationId xmlns:a16="http://schemas.microsoft.com/office/drawing/2014/main" id="{B1B1F4A4-7EC6-4E1D-90FE-36EF57A9E2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23" y="2593385"/>
            <a:ext cx="630936" cy="630936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89FD8D76-52AA-4B44-B5E7-A07C19C4A83D}"/>
              </a:ext>
            </a:extLst>
          </p:cNvPr>
          <p:cNvSpPr>
            <a:spLocks/>
          </p:cNvSpPr>
          <p:nvPr/>
        </p:nvSpPr>
        <p:spPr>
          <a:xfrm>
            <a:off x="1250949" y="2786420"/>
            <a:ext cx="9820445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Inspect open-source software packages for security and license compliance to align with corporate standard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82C732-CBBB-4A5A-833F-EC1047B78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327913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 descr="Icon of a gear inside a circle">
            <a:extLst>
              <a:ext uri="{FF2B5EF4-FFF2-40B4-BE49-F238E27FC236}">
                <a16:creationId xmlns:a16="http://schemas.microsoft.com/office/drawing/2014/main" id="{A99E3B1C-72EC-43C0-9BC6-66847EBDF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3" y="3333943"/>
            <a:ext cx="630936" cy="630936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2B178F0A-D602-4E53-A4F4-C21C3FD78661}"/>
              </a:ext>
            </a:extLst>
          </p:cNvPr>
          <p:cNvSpPr>
            <a:spLocks/>
          </p:cNvSpPr>
          <p:nvPr/>
        </p:nvSpPr>
        <p:spPr>
          <a:xfrm>
            <a:off x="1250949" y="3527360"/>
            <a:ext cx="5045164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Manage organizational security and compliance policies</a:t>
            </a:r>
            <a:endParaRPr lang="en-US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2F2B9E-82FE-4895-BAD9-87436DBCA0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01969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Icon of a closed and open bracket">
            <a:extLst>
              <a:ext uri="{FF2B5EF4-FFF2-40B4-BE49-F238E27FC236}">
                <a16:creationId xmlns:a16="http://schemas.microsoft.com/office/drawing/2014/main" id="{CC638140-DE3B-4AB1-88AD-29D009FF05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223" y="4074501"/>
            <a:ext cx="630936" cy="63246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7663F80-641B-4C52-8F62-E533B8367BC5}"/>
              </a:ext>
            </a:extLst>
          </p:cNvPr>
          <p:cNvSpPr>
            <a:spLocks/>
          </p:cNvSpPr>
          <p:nvPr/>
        </p:nvSpPr>
        <p:spPr>
          <a:xfrm>
            <a:off x="1250949" y="4268300"/>
            <a:ext cx="6897722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Integrate license and vulnerability scans into build and deployment pipelines</a:t>
            </a:r>
            <a:endParaRPr lang="en-US" sz="16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15E248-BD55-4C6F-8932-138A1C360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76177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Icon of a lightning bolt symbol inside a circle">
            <a:extLst>
              <a:ext uri="{FF2B5EF4-FFF2-40B4-BE49-F238E27FC236}">
                <a16:creationId xmlns:a16="http://schemas.microsoft.com/office/drawing/2014/main" id="{AB1214F9-75C9-4443-8B03-BF592F9A965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91" t="591" r="591" b="591"/>
          <a:stretch>
            <a:fillRect/>
          </a:stretch>
        </p:blipFill>
        <p:spPr>
          <a:xfrm>
            <a:off x="432223" y="4816583"/>
            <a:ext cx="630936" cy="630936"/>
          </a:xfrm>
          <a:custGeom>
            <a:avLst/>
            <a:gdLst>
              <a:gd name="connsiteX0" fmla="*/ 315468 w 630936"/>
              <a:gd name="connsiteY0" fmla="*/ 0 h 630936"/>
              <a:gd name="connsiteX1" fmla="*/ 630936 w 630936"/>
              <a:gd name="connsiteY1" fmla="*/ 315468 h 630936"/>
              <a:gd name="connsiteX2" fmla="*/ 315468 w 630936"/>
              <a:gd name="connsiteY2" fmla="*/ 630936 h 630936"/>
              <a:gd name="connsiteX3" fmla="*/ 0 w 630936"/>
              <a:gd name="connsiteY3" fmla="*/ 315468 h 630936"/>
              <a:gd name="connsiteX4" fmla="*/ 315468 w 630936"/>
              <a:gd name="connsiteY4" fmla="*/ 0 h 63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0936" h="630936">
                <a:moveTo>
                  <a:pt x="315468" y="0"/>
                </a:moveTo>
                <a:cubicBezTo>
                  <a:pt x="489696" y="0"/>
                  <a:pt x="630936" y="141240"/>
                  <a:pt x="630936" y="315468"/>
                </a:cubicBezTo>
                <a:cubicBezTo>
                  <a:pt x="630936" y="489696"/>
                  <a:pt x="489696" y="630936"/>
                  <a:pt x="315468" y="630936"/>
                </a:cubicBezTo>
                <a:cubicBezTo>
                  <a:pt x="141240" y="630936"/>
                  <a:pt x="0" y="489696"/>
                  <a:pt x="0" y="315468"/>
                </a:cubicBezTo>
                <a:cubicBezTo>
                  <a:pt x="0" y="141240"/>
                  <a:pt x="141240" y="0"/>
                  <a:pt x="315468" y="0"/>
                </a:cubicBezTo>
                <a:close/>
              </a:path>
            </a:pathLst>
          </a:cu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1BDC5E8C-5788-42D3-9A02-1832E8956957}"/>
              </a:ext>
            </a:extLst>
          </p:cNvPr>
          <p:cNvSpPr>
            <a:spLocks/>
          </p:cNvSpPr>
          <p:nvPr/>
        </p:nvSpPr>
        <p:spPr>
          <a:xfrm>
            <a:off x="1250949" y="5009240"/>
            <a:ext cx="6531660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Configure build pipeline to access package security and license rating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F16E1EE-22A4-49A1-89E8-35F463CFA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550233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8452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Module overview</a:t>
            </a:r>
          </a:p>
        </p:txBody>
      </p:sp>
      <p:pic>
        <p:nvPicPr>
          <p:cNvPr id="105" name="Picture 104" descr="Icon of a magnifying glass">
            <a:extLst>
              <a:ext uri="{FF2B5EF4-FFF2-40B4-BE49-F238E27FC236}">
                <a16:creationId xmlns:a16="http://schemas.microsoft.com/office/drawing/2014/main" id="{419011EC-AB8C-4485-89D8-55006B0F7F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758" y="1798314"/>
            <a:ext cx="952500" cy="952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DFB86B-65AB-4300-B3F0-1E8C3F4EAD42}"/>
              </a:ext>
            </a:extLst>
          </p:cNvPr>
          <p:cNvSpPr txBox="1"/>
          <p:nvPr/>
        </p:nvSpPr>
        <p:spPr>
          <a:xfrm>
            <a:off x="1648212" y="20891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1: Module overview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74FF1A-66E6-4C63-BC0D-2CDCB40FB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8212" y="29356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Icon of a security lock">
            <a:extLst>
              <a:ext uri="{FF2B5EF4-FFF2-40B4-BE49-F238E27FC236}">
                <a16:creationId xmlns:a16="http://schemas.microsoft.com/office/drawing/2014/main" id="{79F99272-DD3C-40B5-8075-BB32E81EB3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758" y="3121914"/>
            <a:ext cx="952500" cy="952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61D5B8B-9A7D-47E7-84D4-BBD52ABA5CDC}"/>
              </a:ext>
            </a:extLst>
          </p:cNvPr>
          <p:cNvSpPr txBox="1"/>
          <p:nvPr/>
        </p:nvSpPr>
        <p:spPr>
          <a:xfrm>
            <a:off x="1648212" y="34127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2: Open-source softwar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E99C89-B9B0-4EB7-90B2-A235A402C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8212" y="42592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89" descr="Icon of three squares and a cloud">
            <a:extLst>
              <a:ext uri="{FF2B5EF4-FFF2-40B4-BE49-F238E27FC236}">
                <a16:creationId xmlns:a16="http://schemas.microsoft.com/office/drawing/2014/main" id="{BF4ADB7E-74D9-4B6F-8494-B728B8722A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758" y="4443990"/>
            <a:ext cx="952500" cy="9525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2E07605-C0FF-408F-A039-BFEFC1D113E9}"/>
              </a:ext>
            </a:extLst>
          </p:cNvPr>
          <p:cNvSpPr txBox="1"/>
          <p:nvPr/>
        </p:nvSpPr>
        <p:spPr>
          <a:xfrm>
            <a:off x="1648212" y="45516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3: Managing security and compliance policies</a:t>
            </a:r>
          </a:p>
        </p:txBody>
      </p:sp>
      <p:pic>
        <p:nvPicPr>
          <p:cNvPr id="84" name="Picture 83" descr="Icon of a screen with filled chart ">
            <a:extLst>
              <a:ext uri="{FF2B5EF4-FFF2-40B4-BE49-F238E27FC236}">
                <a16:creationId xmlns:a16="http://schemas.microsoft.com/office/drawing/2014/main" id="{7174BE4C-88AE-4750-B1AF-7A97965DB9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3033" y="1798314"/>
            <a:ext cx="952500" cy="95250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0E82381-8AA6-4B2A-B6FC-40C7E25798D6}"/>
              </a:ext>
            </a:extLst>
          </p:cNvPr>
          <p:cNvSpPr txBox="1"/>
          <p:nvPr/>
        </p:nvSpPr>
        <p:spPr>
          <a:xfrm>
            <a:off x="7541011" y="19044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4: Integrating license and vulnerability scan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C1E44B0-0728-4B3D-A558-A213BD24AC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011" y="29356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98" descr="Icon of a lab flask">
            <a:extLst>
              <a:ext uri="{FF2B5EF4-FFF2-40B4-BE49-F238E27FC236}">
                <a16:creationId xmlns:a16="http://schemas.microsoft.com/office/drawing/2014/main" id="{DB2B5E74-B89A-4EFB-A96E-69659CF24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3033" y="3121914"/>
            <a:ext cx="952500" cy="9525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97F0747-BED8-473E-ADF5-83F76670EF11}"/>
              </a:ext>
            </a:extLst>
          </p:cNvPr>
          <p:cNvSpPr txBox="1"/>
          <p:nvPr/>
        </p:nvSpPr>
        <p:spPr>
          <a:xfrm>
            <a:off x="7541011" y="34127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5: Lab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E51271D-8F95-410D-8599-972336ADA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011" y="42592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Picture 102" descr="Icon of a document with a checkmark">
            <a:extLst>
              <a:ext uri="{FF2B5EF4-FFF2-40B4-BE49-F238E27FC236}">
                <a16:creationId xmlns:a16="http://schemas.microsoft.com/office/drawing/2014/main" id="{DB2E0F87-D44B-41A1-B051-D2F17123CE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3033" y="4443990"/>
            <a:ext cx="952500" cy="9525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A54F957B-AA15-4349-9AAE-629C953DB655}"/>
              </a:ext>
            </a:extLst>
          </p:cNvPr>
          <p:cNvSpPr txBox="1"/>
          <p:nvPr/>
        </p:nvSpPr>
        <p:spPr>
          <a:xfrm>
            <a:off x="7541011" y="45516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6: Module review</a:t>
            </a:r>
            <a:br>
              <a:rPr lang="en-US" sz="2400" dirty="0"/>
            </a:br>
            <a:r>
              <a:rPr lang="en-US" sz="2400" dirty="0"/>
              <a:t>and takeaways</a:t>
            </a:r>
          </a:p>
        </p:txBody>
      </p:sp>
    </p:spTree>
    <p:extLst>
      <p:ext uri="{BB962C8B-B14F-4D97-AF65-F5344CB8AC3E}">
        <p14:creationId xmlns:p14="http://schemas.microsoft.com/office/powerpoint/2010/main" val="2052801764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59BF1-DFBD-478C-ACA3-333D99FCF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Module review question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88BCFB-0BC9-4521-9B9E-4897973BE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1198680"/>
            <a:ext cx="915924" cy="915924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D010595-CC0F-4F28-A32C-2291A9AFD36C}"/>
              </a:ext>
            </a:extLst>
          </p:cNvPr>
          <p:cNvSpPr/>
          <p:nvPr/>
        </p:nvSpPr>
        <p:spPr bwMode="auto">
          <a:xfrm rot="10800000" flipV="1">
            <a:off x="499585" y="126759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C5FA106-5E25-4554-AB17-915634ED251D}"/>
              </a:ext>
            </a:extLst>
          </p:cNvPr>
          <p:cNvSpPr txBox="1"/>
          <p:nvPr/>
        </p:nvSpPr>
        <p:spPr>
          <a:xfrm>
            <a:off x="1557338" y="1471976"/>
            <a:ext cx="104521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What issues are often associated with the use of open-source libraries?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A017D1E-285B-486F-A4F5-20F6F7DB7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57338" y="2209457"/>
            <a:ext cx="10452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8585FDC-2E61-4EE8-942F-1AB483404B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2304310"/>
            <a:ext cx="915924" cy="91592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002A13C-E37E-468F-A120-048FE42E8A1D}"/>
              </a:ext>
            </a:extLst>
          </p:cNvPr>
          <p:cNvSpPr/>
          <p:nvPr/>
        </p:nvSpPr>
        <p:spPr bwMode="auto">
          <a:xfrm rot="10800000" flipV="1">
            <a:off x="499585" y="237322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90624EA-5CBB-4AC1-A1C8-9BC7763B40F1}"/>
              </a:ext>
            </a:extLst>
          </p:cNvPr>
          <p:cNvSpPr txBox="1"/>
          <p:nvPr/>
        </p:nvSpPr>
        <p:spPr>
          <a:xfrm>
            <a:off x="1557338" y="2392940"/>
            <a:ext cx="104521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How can an open-source library cause licensing issues if it is free to download?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31D1E68-F3A6-4DB0-B336-E25B375345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57338" y="3315087"/>
            <a:ext cx="10452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008C569-F053-4A6D-85BA-24A907CE4A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3409940"/>
            <a:ext cx="915924" cy="91592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DC326C0-FA8B-4A35-B0AF-748BDD70EE0A}"/>
              </a:ext>
            </a:extLst>
          </p:cNvPr>
          <p:cNvSpPr/>
          <p:nvPr/>
        </p:nvSpPr>
        <p:spPr bwMode="auto">
          <a:xfrm rot="10800000" flipV="1">
            <a:off x="499585" y="347885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BC1C9E9-C916-4E5C-A06C-C3EFF19C97B9}"/>
              </a:ext>
            </a:extLst>
          </p:cNvPr>
          <p:cNvSpPr txBox="1"/>
          <p:nvPr/>
        </p:nvSpPr>
        <p:spPr>
          <a:xfrm>
            <a:off x="1557338" y="3683236"/>
            <a:ext cx="104521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What is open-source software?</a:t>
            </a:r>
          </a:p>
        </p:txBody>
      </p:sp>
    </p:spTree>
    <p:extLst>
      <p:ext uri="{BB962C8B-B14F-4D97-AF65-F5344CB8AC3E}">
        <p14:creationId xmlns:p14="http://schemas.microsoft.com/office/powerpoint/2010/main" val="3163223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7DEEA-C89F-4A10-AEF3-2022E07F0393}"/>
              </a:ext>
            </a:extLst>
          </p:cNvPr>
          <p:cNvSpPr txBox="1"/>
          <p:nvPr/>
        </p:nvSpPr>
        <p:spPr>
          <a:xfrm>
            <a:off x="466344" y="1188720"/>
            <a:ext cx="11582400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latin typeface="+mj-lt"/>
              </a:rPr>
              <a:t>After completing this module, students will be able to:</a:t>
            </a:r>
          </a:p>
        </p:txBody>
      </p:sp>
      <p:pic>
        <p:nvPicPr>
          <p:cNvPr id="70" name="Picture 69" descr="Icon of a hollow circle">
            <a:extLst>
              <a:ext uri="{FF2B5EF4-FFF2-40B4-BE49-F238E27FC236}">
                <a16:creationId xmlns:a16="http://schemas.microsoft.com/office/drawing/2014/main" id="{2485CC25-DAA5-418C-B702-A4C6A536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223" y="1851303"/>
            <a:ext cx="630936" cy="63246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27C301BF-9D46-44C8-A055-18088408385F}"/>
              </a:ext>
            </a:extLst>
          </p:cNvPr>
          <p:cNvSpPr>
            <a:spLocks/>
          </p:cNvSpPr>
          <p:nvPr/>
        </p:nvSpPr>
        <p:spPr>
          <a:xfrm>
            <a:off x="1250950" y="2045480"/>
            <a:ext cx="10707688" cy="244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Describe the potential challenges with integrating open-source softwa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35B81A-491C-42F8-874F-13B44EE92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2538574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 descr="Icon of three circles and aligned to three lines">
            <a:extLst>
              <a:ext uri="{FF2B5EF4-FFF2-40B4-BE49-F238E27FC236}">
                <a16:creationId xmlns:a16="http://schemas.microsoft.com/office/drawing/2014/main" id="{B1B1F4A4-7EC6-4E1D-90FE-36EF57A9E2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23" y="2593385"/>
            <a:ext cx="630936" cy="630936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89FD8D76-52AA-4B44-B5E7-A07C19C4A83D}"/>
              </a:ext>
            </a:extLst>
          </p:cNvPr>
          <p:cNvSpPr>
            <a:spLocks/>
          </p:cNvSpPr>
          <p:nvPr/>
        </p:nvSpPr>
        <p:spPr>
          <a:xfrm>
            <a:off x="1250949" y="2786420"/>
            <a:ext cx="6775829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Inspect open-source software packages for security and license complianc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82C732-CBBB-4A5A-833F-EC1047B78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327913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 descr="Icon of a gear inside a circle">
            <a:extLst>
              <a:ext uri="{FF2B5EF4-FFF2-40B4-BE49-F238E27FC236}">
                <a16:creationId xmlns:a16="http://schemas.microsoft.com/office/drawing/2014/main" id="{A99E3B1C-72EC-43C0-9BC6-66847EBDF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3" y="3333943"/>
            <a:ext cx="630936" cy="630936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2B178F0A-D602-4E53-A4F4-C21C3FD78661}"/>
              </a:ext>
            </a:extLst>
          </p:cNvPr>
          <p:cNvSpPr>
            <a:spLocks/>
          </p:cNvSpPr>
          <p:nvPr/>
        </p:nvSpPr>
        <p:spPr>
          <a:xfrm>
            <a:off x="1250949" y="3527360"/>
            <a:ext cx="5045164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Manage organizational security and compliance policies</a:t>
            </a:r>
            <a:endParaRPr lang="en-US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2F2B9E-82FE-4895-BAD9-87436DBCA0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01969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Icon of a closed and open bracket">
            <a:extLst>
              <a:ext uri="{FF2B5EF4-FFF2-40B4-BE49-F238E27FC236}">
                <a16:creationId xmlns:a16="http://schemas.microsoft.com/office/drawing/2014/main" id="{CC638140-DE3B-4AB1-88AD-29D009FF05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223" y="4074501"/>
            <a:ext cx="630936" cy="63246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7663F80-641B-4C52-8F62-E533B8367BC5}"/>
              </a:ext>
            </a:extLst>
          </p:cNvPr>
          <p:cNvSpPr>
            <a:spLocks/>
          </p:cNvSpPr>
          <p:nvPr/>
        </p:nvSpPr>
        <p:spPr>
          <a:xfrm>
            <a:off x="1250949" y="4268300"/>
            <a:ext cx="6897722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Integrate license and vulnerability scans into build and deployment pipelines</a:t>
            </a:r>
            <a:endParaRPr lang="en-US" sz="16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15E248-BD55-4C6F-8932-138A1C360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76177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Icon of a lightning bolt symbol inside a circle">
            <a:extLst>
              <a:ext uri="{FF2B5EF4-FFF2-40B4-BE49-F238E27FC236}">
                <a16:creationId xmlns:a16="http://schemas.microsoft.com/office/drawing/2014/main" id="{AB1214F9-75C9-4443-8B03-BF592F9A965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91" t="591" r="591" b="591"/>
          <a:stretch>
            <a:fillRect/>
          </a:stretch>
        </p:blipFill>
        <p:spPr>
          <a:xfrm>
            <a:off x="432223" y="4816583"/>
            <a:ext cx="630936" cy="630936"/>
          </a:xfrm>
          <a:custGeom>
            <a:avLst/>
            <a:gdLst>
              <a:gd name="connsiteX0" fmla="*/ 315468 w 630936"/>
              <a:gd name="connsiteY0" fmla="*/ 0 h 630936"/>
              <a:gd name="connsiteX1" fmla="*/ 630936 w 630936"/>
              <a:gd name="connsiteY1" fmla="*/ 315468 h 630936"/>
              <a:gd name="connsiteX2" fmla="*/ 315468 w 630936"/>
              <a:gd name="connsiteY2" fmla="*/ 630936 h 630936"/>
              <a:gd name="connsiteX3" fmla="*/ 0 w 630936"/>
              <a:gd name="connsiteY3" fmla="*/ 315468 h 630936"/>
              <a:gd name="connsiteX4" fmla="*/ 315468 w 630936"/>
              <a:gd name="connsiteY4" fmla="*/ 0 h 63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0936" h="630936">
                <a:moveTo>
                  <a:pt x="315468" y="0"/>
                </a:moveTo>
                <a:cubicBezTo>
                  <a:pt x="489696" y="0"/>
                  <a:pt x="630936" y="141240"/>
                  <a:pt x="630936" y="315468"/>
                </a:cubicBezTo>
                <a:cubicBezTo>
                  <a:pt x="630936" y="489696"/>
                  <a:pt x="489696" y="630936"/>
                  <a:pt x="315468" y="630936"/>
                </a:cubicBezTo>
                <a:cubicBezTo>
                  <a:pt x="141240" y="630936"/>
                  <a:pt x="0" y="489696"/>
                  <a:pt x="0" y="315468"/>
                </a:cubicBezTo>
                <a:cubicBezTo>
                  <a:pt x="0" y="141240"/>
                  <a:pt x="141240" y="0"/>
                  <a:pt x="315468" y="0"/>
                </a:cubicBezTo>
                <a:close/>
              </a:path>
            </a:pathLst>
          </a:cu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1BDC5E8C-5788-42D3-9A02-1832E8956957}"/>
              </a:ext>
            </a:extLst>
          </p:cNvPr>
          <p:cNvSpPr>
            <a:spLocks/>
          </p:cNvSpPr>
          <p:nvPr/>
        </p:nvSpPr>
        <p:spPr>
          <a:xfrm>
            <a:off x="1250949" y="5009240"/>
            <a:ext cx="6531660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Configure build pipeline to access package security and license rating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F16E1EE-22A4-49A1-89E8-35F463CFA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550233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3486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2: Open-source software</a:t>
            </a:r>
          </a:p>
        </p:txBody>
      </p:sp>
      <p:pic>
        <p:nvPicPr>
          <p:cNvPr id="2" name="Picture 1" descr="Icon of a security lock">
            <a:extLst>
              <a:ext uri="{FF2B5EF4-FFF2-40B4-BE49-F238E27FC236}">
                <a16:creationId xmlns:a16="http://schemas.microsoft.com/office/drawing/2014/main" id="{D88DD85D-FB96-40D7-A723-FF7D1E1F14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1010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41406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9844D-7543-4B89-A10F-D42A46F7C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How software is built</a:t>
            </a:r>
          </a:p>
        </p:txBody>
      </p:sp>
      <p:pic>
        <p:nvPicPr>
          <p:cNvPr id="13" name="Picture 12" descr="Icon of a webpage showing six squares">
            <a:extLst>
              <a:ext uri="{FF2B5EF4-FFF2-40B4-BE49-F238E27FC236}">
                <a16:creationId xmlns:a16="http://schemas.microsoft.com/office/drawing/2014/main" id="{CD9CE989-9F04-4734-8128-89890BAA15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138" y="1687442"/>
            <a:ext cx="952500" cy="9525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6932B66-3911-43CD-BB70-13C6E830C9B9}"/>
              </a:ext>
            </a:extLst>
          </p:cNvPr>
          <p:cNvSpPr/>
          <p:nvPr/>
        </p:nvSpPr>
        <p:spPr>
          <a:xfrm>
            <a:off x="1689099" y="1687442"/>
            <a:ext cx="10320339" cy="16773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+mj-lt"/>
              </a:rPr>
              <a:t>Software based 80% on components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Internal team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Commercial 3</a:t>
            </a:r>
            <a:r>
              <a:rPr lang="en-US" sz="2000" baseline="30000" dirty="0">
                <a:solidFill>
                  <a:schemeClr val="tx1"/>
                </a:solidFill>
              </a:rPr>
              <a:t>rd</a:t>
            </a:r>
            <a:r>
              <a:rPr lang="en-US" sz="2000" dirty="0">
                <a:solidFill>
                  <a:schemeClr val="tx1"/>
                </a:solidFill>
              </a:rPr>
              <a:t> part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Open-source community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EF31729-A47D-4460-B5FF-28C9E0DE0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89100" y="3847803"/>
            <a:ext cx="103203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Icon of three squares and a cloud">
            <a:extLst>
              <a:ext uri="{FF2B5EF4-FFF2-40B4-BE49-F238E27FC236}">
                <a16:creationId xmlns:a16="http://schemas.microsoft.com/office/drawing/2014/main" id="{B00A6087-8C37-46CA-ADC9-DF73D8B17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38" y="4235181"/>
            <a:ext cx="952500" cy="952500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AD3F0406-9A7B-4F25-8A95-D14D93FCE9ED}"/>
              </a:ext>
            </a:extLst>
          </p:cNvPr>
          <p:cNvSpPr/>
          <p:nvPr/>
        </p:nvSpPr>
        <p:spPr>
          <a:xfrm>
            <a:off x="1689099" y="4330782"/>
            <a:ext cx="10320339" cy="7612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spcAft>
                <a:spcPts val="816"/>
              </a:spcAft>
            </a:pPr>
            <a:r>
              <a:rPr lang="en-US" sz="2400" dirty="0">
                <a:solidFill>
                  <a:schemeClr val="tx1"/>
                </a:solidFill>
              </a:rPr>
              <a:t>Almost all software nowadays uses open-source software in some way, shape, or form</a:t>
            </a:r>
          </a:p>
        </p:txBody>
      </p:sp>
    </p:spTree>
    <p:extLst>
      <p:ext uri="{BB962C8B-B14F-4D97-AF65-F5344CB8AC3E}">
        <p14:creationId xmlns:p14="http://schemas.microsoft.com/office/powerpoint/2010/main" val="233448502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112AF-7AE2-4197-9F38-40C40BC38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 anchor="ctr"/>
          <a:lstStyle/>
          <a:p>
            <a:r>
              <a:rPr lang="en-US" dirty="0"/>
              <a:t>What is open-source software?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8497F6-2819-4BA1-96FC-64D374D0C8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997" y="622300"/>
            <a:ext cx="5635752" cy="563575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32D7E5F-4850-41B8-9B31-85418745F29B}"/>
              </a:ext>
            </a:extLst>
          </p:cNvPr>
          <p:cNvSpPr/>
          <p:nvPr/>
        </p:nvSpPr>
        <p:spPr>
          <a:xfrm>
            <a:off x="6607176" y="2116583"/>
            <a:ext cx="4556124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400" i="1" dirty="0">
                <a:latin typeface="+mj-lt"/>
              </a:rPr>
              <a:t>Open-source software is a type of computer software in which source code is released under a license in which the copyright holder grants users the rights to study, change, and distribute the software to</a:t>
            </a:r>
            <a:br>
              <a:rPr lang="en-US" sz="2400" i="1" dirty="0">
                <a:latin typeface="+mj-lt"/>
              </a:rPr>
            </a:br>
            <a:r>
              <a:rPr lang="en-US" sz="2400" i="1" dirty="0">
                <a:latin typeface="+mj-lt"/>
              </a:rPr>
              <a:t>anyone and for</a:t>
            </a:r>
            <a:br>
              <a:rPr lang="en-US" sz="2400" i="1" dirty="0">
                <a:latin typeface="+mj-lt"/>
              </a:rPr>
            </a:br>
            <a:r>
              <a:rPr lang="en-US" sz="2400" i="1" dirty="0">
                <a:latin typeface="+mj-lt"/>
              </a:rPr>
              <a:t>any purpo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87828C-4B03-43E6-BA79-BC497BBC890F}"/>
              </a:ext>
            </a:extLst>
          </p:cNvPr>
          <p:cNvSpPr/>
          <p:nvPr/>
        </p:nvSpPr>
        <p:spPr>
          <a:xfrm>
            <a:off x="428943" y="6360597"/>
            <a:ext cx="639188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u="sng">
                <a:solidFill>
                  <a:srgbClr val="000000"/>
                </a:solidFill>
                <a:hlinkClick r:id="rId3"/>
              </a:rPr>
              <a:t>https://en.wikipedia.org/wiki/Open-source_software</a:t>
            </a:r>
            <a:r>
              <a:rPr lang="en-US" sz="1200" u="sng">
                <a:solidFill>
                  <a:srgbClr val="000000"/>
                </a:solidFill>
              </a:rPr>
              <a:t> </a:t>
            </a: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496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9A83E-5AFF-4387-92E5-0F955CEA1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Corporate concerns with open-source software components</a:t>
            </a:r>
          </a:p>
        </p:txBody>
      </p:sp>
      <p:pic>
        <p:nvPicPr>
          <p:cNvPr id="40" name="Picture 39" descr="Icon of tools">
            <a:extLst>
              <a:ext uri="{FF2B5EF4-FFF2-40B4-BE49-F238E27FC236}">
                <a16:creationId xmlns:a16="http://schemas.microsoft.com/office/drawing/2014/main" id="{2B4CB5E3-E61C-4819-8148-3FD58770EF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3" y="1184522"/>
            <a:ext cx="783336" cy="7848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5F7B95A-E382-451C-9D99-7C949FF25D44}"/>
              </a:ext>
            </a:extLst>
          </p:cNvPr>
          <p:cNvSpPr>
            <a:spLocks/>
          </p:cNvSpPr>
          <p:nvPr/>
        </p:nvSpPr>
        <p:spPr>
          <a:xfrm>
            <a:off x="1432193" y="1271740"/>
            <a:ext cx="10577246" cy="61042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dirty="0">
                <a:latin typeface="+mj-lt"/>
              </a:rPr>
              <a:t>Are of low quality:</a:t>
            </a:r>
          </a:p>
          <a:p>
            <a:pPr marL="0" lvl="1">
              <a:spcBef>
                <a:spcPts val="200"/>
              </a:spcBef>
            </a:pPr>
            <a:r>
              <a:rPr lang="en-US" dirty="0"/>
              <a:t>This would impact maintainability, reliability, and performance of the overall soluti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039F9E-D4AC-40CC-8BCF-6776A27D53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211055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Icon of a bar chart with circles on the bottom">
            <a:extLst>
              <a:ext uri="{FF2B5EF4-FFF2-40B4-BE49-F238E27FC236}">
                <a16:creationId xmlns:a16="http://schemas.microsoft.com/office/drawing/2014/main" id="{43B22573-61B9-433B-8102-80F113C55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3" y="2303773"/>
            <a:ext cx="784860" cy="78638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C5F2AF5-E8F7-45BC-BF9D-59CA72BCEEED}"/>
              </a:ext>
            </a:extLst>
          </p:cNvPr>
          <p:cNvSpPr>
            <a:spLocks/>
          </p:cNvSpPr>
          <p:nvPr/>
        </p:nvSpPr>
        <p:spPr>
          <a:xfrm>
            <a:off x="1432193" y="225173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>
                <a:latin typeface="+mj-lt"/>
              </a:rPr>
              <a:t>Have no active maintenance:</a:t>
            </a:r>
          </a:p>
          <a:p>
            <a:pPr marL="0" lvl="1">
              <a:spcBef>
                <a:spcPts val="200"/>
              </a:spcBef>
            </a:pPr>
            <a:r>
              <a:rPr lang="en-US"/>
              <a:t>The code would not evolve over time or be alterable without making a copy of the source code, effectively forking away from the origi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95C6E39-01D1-46AB-A167-C656818E4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328032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 descr="Icon of three dots and outward pointing chevrons on left and right">
            <a:extLst>
              <a:ext uri="{FF2B5EF4-FFF2-40B4-BE49-F238E27FC236}">
                <a16:creationId xmlns:a16="http://schemas.microsoft.com/office/drawing/2014/main" id="{0A516DB2-BD79-40E3-9312-6018B5DFF0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03" y="3473543"/>
            <a:ext cx="783336" cy="78333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5DC0EC4-A80B-4D6F-8CAA-1A5F3AC8C3E5}"/>
              </a:ext>
            </a:extLst>
          </p:cNvPr>
          <p:cNvSpPr>
            <a:spLocks/>
          </p:cNvSpPr>
          <p:nvPr/>
        </p:nvSpPr>
        <p:spPr>
          <a:xfrm>
            <a:off x="1432193" y="342150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>
                <a:latin typeface="+mj-lt"/>
              </a:rPr>
              <a:t>Contain malicious code:</a:t>
            </a:r>
          </a:p>
          <a:p>
            <a:pPr marL="0" lvl="1">
              <a:spcBef>
                <a:spcPts val="200"/>
              </a:spcBef>
            </a:pPr>
            <a:r>
              <a:rPr lang="en-US"/>
              <a:t>The entire system that includes and uses the code will be compromised. Potentially the entire company’s IT and infrastructure is affecte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7EB4D8-CA92-41E8-8CE3-3AB4A9D88B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445009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Icon of coding brackets">
            <a:extLst>
              <a:ext uri="{FF2B5EF4-FFF2-40B4-BE49-F238E27FC236}">
                <a16:creationId xmlns:a16="http://schemas.microsoft.com/office/drawing/2014/main" id="{8BF0C6D0-8BB3-40C1-978E-65007C2249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803" y="4642551"/>
            <a:ext cx="783336" cy="7848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FB2E42B-54CC-421B-93D2-35157FE21B23}"/>
              </a:ext>
            </a:extLst>
          </p:cNvPr>
          <p:cNvSpPr>
            <a:spLocks/>
          </p:cNvSpPr>
          <p:nvPr/>
        </p:nvSpPr>
        <p:spPr>
          <a:xfrm>
            <a:off x="1432193" y="459127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>
                <a:latin typeface="+mj-lt"/>
              </a:rPr>
              <a:t>Have security vulnerabilities:</a:t>
            </a:r>
          </a:p>
          <a:p>
            <a:pPr marL="0" lvl="1">
              <a:spcBef>
                <a:spcPts val="200"/>
              </a:spcBef>
            </a:pPr>
            <a:r>
              <a:rPr lang="en-US"/>
              <a:t>The security of a software system is as good as its weakest part. Using source code with vulnerabilities makes the entire system susceptible to attack by hackers and misus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BB9869A-0F53-4528-9DDA-A5BABDCF9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561986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 descr="Icon of a security lock">
            <a:extLst>
              <a:ext uri="{FF2B5EF4-FFF2-40B4-BE49-F238E27FC236}">
                <a16:creationId xmlns:a16="http://schemas.microsoft.com/office/drawing/2014/main" id="{CB660C30-7C86-4153-96A9-8B51A38A04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803" y="5761038"/>
            <a:ext cx="783336" cy="7848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34402E-FD7C-4242-85EA-6ACAE732E2FD}"/>
              </a:ext>
            </a:extLst>
          </p:cNvPr>
          <p:cNvSpPr>
            <a:spLocks/>
          </p:cNvSpPr>
          <p:nvPr/>
        </p:nvSpPr>
        <p:spPr>
          <a:xfrm>
            <a:off x="1432193" y="5848256"/>
            <a:ext cx="10577246" cy="61042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b="1">
                <a:latin typeface="+mj-lt"/>
              </a:rPr>
              <a:t>Have </a:t>
            </a:r>
            <a:r>
              <a:rPr lang="en-US" sz="2000">
                <a:latin typeface="+mj-lt"/>
              </a:rPr>
              <a:t>unfavorable</a:t>
            </a:r>
            <a:r>
              <a:rPr lang="en-US" sz="2000" b="1">
                <a:latin typeface="+mj-lt"/>
              </a:rPr>
              <a:t> licensing restrictions:</a:t>
            </a:r>
            <a:endParaRPr lang="en-US" sz="2000">
              <a:latin typeface="+mj-lt"/>
            </a:endParaRPr>
          </a:p>
          <a:p>
            <a:pPr marL="0" lvl="1">
              <a:spcBef>
                <a:spcPts val="200"/>
              </a:spcBef>
            </a:pPr>
            <a:r>
              <a:rPr lang="en-US"/>
              <a:t>The effect of a license can affect the entire solution that uses the open-source software</a:t>
            </a:r>
          </a:p>
        </p:txBody>
      </p:sp>
    </p:spTree>
    <p:extLst>
      <p:ext uri="{BB962C8B-B14F-4D97-AF65-F5344CB8AC3E}">
        <p14:creationId xmlns:p14="http://schemas.microsoft.com/office/powerpoint/2010/main" val="398139656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2E1E9-142E-49B2-A65B-46D36A572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pen-source licens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ED5412-A196-4F91-BAF1-62726A9B073C}"/>
              </a:ext>
            </a:extLst>
          </p:cNvPr>
          <p:cNvSpPr/>
          <p:nvPr/>
        </p:nvSpPr>
        <p:spPr>
          <a:xfrm>
            <a:off x="466343" y="1409876"/>
            <a:ext cx="1154309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000" dirty="0">
                <a:latin typeface="+mj-lt"/>
              </a:rPr>
              <a:t>According to the open-source definition of OpenSource.org a license should not:</a:t>
            </a:r>
          </a:p>
        </p:txBody>
      </p:sp>
      <p:pic>
        <p:nvPicPr>
          <p:cNvPr id="8" name="Picture 7" descr="Icon of two people">
            <a:extLst>
              <a:ext uri="{FF2B5EF4-FFF2-40B4-BE49-F238E27FC236}">
                <a16:creationId xmlns:a16="http://schemas.microsoft.com/office/drawing/2014/main" id="{09AAD6D9-EA0B-4876-9F04-0E436CA94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2012881"/>
            <a:ext cx="952500" cy="9525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178D6D2F-4F6F-477F-AD34-EF08B47BBA11}"/>
              </a:ext>
            </a:extLst>
          </p:cNvPr>
          <p:cNvSpPr>
            <a:spLocks/>
          </p:cNvSpPr>
          <p:nvPr/>
        </p:nvSpPr>
        <p:spPr>
          <a:xfrm>
            <a:off x="1646238" y="2335243"/>
            <a:ext cx="1036319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/>
              <a:t>Discriminate against persons or groups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117B5C7-B860-4392-92D6-75760243C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3092136"/>
            <a:ext cx="1035208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Icon of a checkmark inside a badge">
            <a:extLst>
              <a:ext uri="{FF2B5EF4-FFF2-40B4-BE49-F238E27FC236}">
                <a16:creationId xmlns:a16="http://schemas.microsoft.com/office/drawing/2014/main" id="{A67E7B6F-FCB7-458A-965C-083F9CA18F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0" y="3218891"/>
            <a:ext cx="952500" cy="9525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08FAD90B-19D5-4558-BCC5-B2DE7E689EE1}"/>
              </a:ext>
            </a:extLst>
          </p:cNvPr>
          <p:cNvSpPr>
            <a:spLocks/>
          </p:cNvSpPr>
          <p:nvPr/>
        </p:nvSpPr>
        <p:spPr>
          <a:xfrm>
            <a:off x="1646238" y="3541253"/>
            <a:ext cx="1036319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/>
              <a:t>Discriminate against fields of endeavor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BBF24D0-E593-4C66-98BC-259F10749C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4298146"/>
            <a:ext cx="1036319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Icon of a document">
            <a:extLst>
              <a:ext uri="{FF2B5EF4-FFF2-40B4-BE49-F238E27FC236}">
                <a16:creationId xmlns:a16="http://schemas.microsoft.com/office/drawing/2014/main" id="{D0BA6485-2E9F-43A6-8AF7-4A6BAB1408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00" y="4424901"/>
            <a:ext cx="952500" cy="952500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AFA1C8CC-C223-45E8-ACB3-065A50855BAB}"/>
              </a:ext>
            </a:extLst>
          </p:cNvPr>
          <p:cNvSpPr>
            <a:spLocks/>
          </p:cNvSpPr>
          <p:nvPr/>
        </p:nvSpPr>
        <p:spPr>
          <a:xfrm>
            <a:off x="1646239" y="4747263"/>
            <a:ext cx="1036320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/>
              <a:t>Be specific to a product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E19AA60-EAFD-4E4A-B8F6-EFCE82CB4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5504156"/>
            <a:ext cx="1035208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con of check mark enclosed by an arc">
            <a:extLst>
              <a:ext uri="{FF2B5EF4-FFF2-40B4-BE49-F238E27FC236}">
                <a16:creationId xmlns:a16="http://schemas.microsoft.com/office/drawing/2014/main" id="{BAD94B53-B93D-4586-861D-8EB2550BE2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800" y="5630911"/>
            <a:ext cx="952500" cy="952500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BEE48B26-944E-4BB7-A9EA-F5BEA6C54CFA}"/>
              </a:ext>
            </a:extLst>
          </p:cNvPr>
          <p:cNvSpPr>
            <a:spLocks/>
          </p:cNvSpPr>
          <p:nvPr/>
        </p:nvSpPr>
        <p:spPr>
          <a:xfrm>
            <a:off x="1646239" y="5953273"/>
            <a:ext cx="1036320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/>
              <a:t>Restrict other software</a:t>
            </a:r>
          </a:p>
        </p:txBody>
      </p:sp>
    </p:spTree>
    <p:extLst>
      <p:ext uri="{BB962C8B-B14F-4D97-AF65-F5344CB8AC3E}">
        <p14:creationId xmlns:p14="http://schemas.microsoft.com/office/powerpoint/2010/main" val="1713357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J0L_57kiUHpocC5ih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7rjcNmEUON9t36Z8WX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y6qwapX0KPYZvFKQvU0A"/>
</p:tagLst>
</file>

<file path=ppt/theme/theme1.xml><?xml version="1.0" encoding="utf-8"?>
<a:theme xmlns:a="http://schemas.openxmlformats.org/drawingml/2006/main" name="Azure 1">
  <a:themeElements>
    <a:clrScheme name="Custom 3">
      <a:dk1>
        <a:srgbClr val="000000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marR="0" indent="0" algn="l" defTabSz="932742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Segoe UI Semibold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TT_Azure_PowerPoint_Template_Dec19" id="{4D812253-AE16-49B7-9E8B-E155C396F1B1}" vid="{CDFF03D5-E879-4992-95FD-25D14F5B9F5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E0AACF14ED30409321E086CBD493A2" ma:contentTypeVersion="4" ma:contentTypeDescription="Create a new document." ma:contentTypeScope="" ma:versionID="4889ff27a5c2cc44e382597e2323a2d2">
  <xsd:schema xmlns:xsd="http://www.w3.org/2001/XMLSchema" xmlns:xs="http://www.w3.org/2001/XMLSchema" xmlns:p="http://schemas.microsoft.com/office/2006/metadata/properties" xmlns:ns2="cdb59daf-14e9-4edf-afe9-ce5cf0512301" targetNamespace="http://schemas.microsoft.com/office/2006/metadata/properties" ma:root="true" ma:fieldsID="ccc9e7c3ccd46f28271fd42ef4ff5512" ns2:_="">
    <xsd:import namespace="cdb59daf-14e9-4edf-afe9-ce5cf05123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59daf-14e9-4edf-afe9-ce5cf05123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5F0BB7-C0F0-4BB2-97D3-5BC641DDCE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b59daf-14e9-4edf-afe9-ce5cf05123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1440</Words>
  <Application>Microsoft Office PowerPoint</Application>
  <PresentationFormat>Custom</PresentationFormat>
  <Paragraphs>208</Paragraphs>
  <Slides>30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8" baseType="lpstr">
      <vt:lpstr>Arial</vt:lpstr>
      <vt:lpstr>Calibri</vt:lpstr>
      <vt:lpstr>Consolas</vt:lpstr>
      <vt:lpstr>Segoe UI</vt:lpstr>
      <vt:lpstr>Segoe UI Light</vt:lpstr>
      <vt:lpstr>Segoe UI Semibold</vt:lpstr>
      <vt:lpstr>Wingdings</vt:lpstr>
      <vt:lpstr>Azure 1</vt:lpstr>
      <vt:lpstr>AZ-400.00 Module 20: Validating Code Bases for Compliance</vt:lpstr>
      <vt:lpstr>Lesson 01: Module overview</vt:lpstr>
      <vt:lpstr>Module overview</vt:lpstr>
      <vt:lpstr>Learning objectives</vt:lpstr>
      <vt:lpstr>Lesson 02: Open-source software</vt:lpstr>
      <vt:lpstr>How software is built</vt:lpstr>
      <vt:lpstr>What is open-source software?</vt:lpstr>
      <vt:lpstr>Corporate concerns with open-source software components</vt:lpstr>
      <vt:lpstr>Open-source licenses</vt:lpstr>
      <vt:lpstr>Common open-source licenses</vt:lpstr>
      <vt:lpstr>License implications and ratings</vt:lpstr>
      <vt:lpstr>Lesson 03: Managing security and compliance policies</vt:lpstr>
      <vt:lpstr>Inspecting and validating code bases for compliance</vt:lpstr>
      <vt:lpstr>Planning to implement OWASP Secure Coding Practices</vt:lpstr>
      <vt:lpstr>Inspecting and validating code bases for compliance</vt:lpstr>
      <vt:lpstr>Discussion: Security policy tooling</vt:lpstr>
      <vt:lpstr>Lesson 04: Integrating license and vulnerability scans</vt:lpstr>
      <vt:lpstr>Implement continuous security validation</vt:lpstr>
      <vt:lpstr>OWASP ZAP penetration testing</vt:lpstr>
      <vt:lpstr>OWASP ZAP results and bugs</vt:lpstr>
      <vt:lpstr>Tools for assessing package security and license rating</vt:lpstr>
      <vt:lpstr>SonarCloud</vt:lpstr>
      <vt:lpstr>Interpret alerts from scanning tools</vt:lpstr>
      <vt:lpstr>CodeQL in GitHub</vt:lpstr>
      <vt:lpstr>GitHub Dependabot alerts and security updates</vt:lpstr>
      <vt:lpstr>Lesson 05: Lab</vt:lpstr>
      <vt:lpstr>Managing technical debt with SonarQube and Azure DevOps</vt:lpstr>
      <vt:lpstr>Lesson 06: Module review and takeaways</vt:lpstr>
      <vt:lpstr>What did you learn ?</vt:lpstr>
      <vt:lpstr>Module review ques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Dependency Management</dc:title>
  <dc:creator>athissen@xpirit.com</dc:creator>
  <cp:lastModifiedBy>Kimberly Rasmusson-Anderson</cp:lastModifiedBy>
  <cp:revision>33</cp:revision>
  <dcterms:created xsi:type="dcterms:W3CDTF">2020-04-30T00:33:59Z</dcterms:created>
  <dcterms:modified xsi:type="dcterms:W3CDTF">2021-05-13T19:2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SetDate">
    <vt:lpwstr>2020-04-30T16:58:44.8526099Z</vt:lpwstr>
  </property>
  <property fmtid="{D5CDD505-2E9C-101B-9397-08002B2CF9AE}" pid="5" name="MSIP_Label_f42aa342-8706-4288-bd11-ebb85995028c_Name">
    <vt:lpwstr>General</vt:lpwstr>
  </property>
  <property fmtid="{D5CDD505-2E9C-101B-9397-08002B2CF9AE}" pid="6" name="MSIP_Label_f42aa342-8706-4288-bd11-ebb85995028c_ActionId">
    <vt:lpwstr>a6dbb04b-5cb4-4cb5-bb6f-3d6af857b37d</vt:lpwstr>
  </property>
  <property fmtid="{D5CDD505-2E9C-101B-9397-08002B2CF9AE}" pid="7" name="MSIP_Label_f42aa342-8706-4288-bd11-ebb85995028c_Extended_MSFT_Method">
    <vt:lpwstr>Automatic</vt:lpwstr>
  </property>
  <property fmtid="{D5CDD505-2E9C-101B-9397-08002B2CF9AE}" pid="8" name="Sensitivity">
    <vt:lpwstr>General</vt:lpwstr>
  </property>
  <property fmtid="{D5CDD505-2E9C-101B-9397-08002B2CF9AE}" pid="9" name="ContentTypeId">
    <vt:lpwstr>0x0101002AE0AACF14ED30409321E086CBD493A2</vt:lpwstr>
  </property>
</Properties>
</file>